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6" r:id="rId2"/>
    <p:sldId id="661" r:id="rId3"/>
    <p:sldId id="2145706750" r:id="rId4"/>
    <p:sldId id="2145706724" r:id="rId5"/>
    <p:sldId id="2145706749" r:id="rId6"/>
    <p:sldId id="2145706747" r:id="rId7"/>
    <p:sldId id="2145706746" r:id="rId8"/>
    <p:sldId id="667" r:id="rId9"/>
    <p:sldId id="2145706748" r:id="rId10"/>
    <p:sldId id="258"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515532-F1AF-D992-870F-41F165AF7AD5}" name="Rory Gribbell" initials="RG" userId="S::Rory.Gribbell@Ofsted.Gov.UK::dcb3f803-7c40-4aae-8d54-bbe9c7b6ef7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8FAADC"/>
    <a:srgbClr val="2092B6"/>
    <a:srgbClr val="009ABC"/>
    <a:srgbClr val="44546A"/>
    <a:srgbClr val="CF0360"/>
    <a:srgbClr val="221E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FFC9AC-7CBE-4847-AFEB-CB3CBB473BAF}" v="157" dt="2025-06-02T09:15:21.7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0" autoAdjust="0"/>
    <p:restoredTop sz="95958" autoAdjust="0"/>
  </p:normalViewPr>
  <p:slideViewPr>
    <p:cSldViewPr snapToGrid="0" showGuides="1">
      <p:cViewPr>
        <p:scale>
          <a:sx n="73" d="100"/>
          <a:sy n="73" d="100"/>
        </p:scale>
        <p:origin x="52" y="70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19"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ry Gribbell" userId="dcb3f803-7c40-4aae-8d54-bbe9c7b6ef77" providerId="ADAL" clId="{0AFFC9AC-7CBE-4847-AFEB-CB3CBB473BAF}"/>
    <pc:docChg chg="undo custSel addSld delSld modSld sldOrd delSection modSection">
      <pc:chgData name="Rory Gribbell" userId="dcb3f803-7c40-4aae-8d54-bbe9c7b6ef77" providerId="ADAL" clId="{0AFFC9AC-7CBE-4847-AFEB-CB3CBB473BAF}" dt="2025-06-05T10:46:57.950" v="3982" actId="20577"/>
      <pc:docMkLst>
        <pc:docMk/>
      </pc:docMkLst>
      <pc:sldChg chg="addSp delSp modSp mod">
        <pc:chgData name="Rory Gribbell" userId="dcb3f803-7c40-4aae-8d54-bbe9c7b6ef77" providerId="ADAL" clId="{0AFFC9AC-7CBE-4847-AFEB-CB3CBB473BAF}" dt="2025-06-02T09:16:32.667" v="3877" actId="14100"/>
        <pc:sldMkLst>
          <pc:docMk/>
          <pc:sldMk cId="3894609340" sldId="256"/>
        </pc:sldMkLst>
        <pc:spChg chg="mod">
          <ac:chgData name="Rory Gribbell" userId="dcb3f803-7c40-4aae-8d54-bbe9c7b6ef77" providerId="ADAL" clId="{0AFFC9AC-7CBE-4847-AFEB-CB3CBB473BAF}" dt="2025-06-02T09:16:32.667" v="3877" actId="14100"/>
          <ac:spMkLst>
            <pc:docMk/>
            <pc:sldMk cId="3894609340" sldId="256"/>
            <ac:spMk id="2" creationId="{00000000-0000-0000-0000-000000000000}"/>
          </ac:spMkLst>
        </pc:spChg>
        <pc:spChg chg="mod">
          <ac:chgData name="Rory Gribbell" userId="dcb3f803-7c40-4aae-8d54-bbe9c7b6ef77" providerId="ADAL" clId="{0AFFC9AC-7CBE-4847-AFEB-CB3CBB473BAF}" dt="2025-06-02T09:16:19.324" v="3876" actId="20577"/>
          <ac:spMkLst>
            <pc:docMk/>
            <pc:sldMk cId="3894609340" sldId="256"/>
            <ac:spMk id="3" creationId="{00000000-0000-0000-0000-000000000000}"/>
          </ac:spMkLst>
        </pc:spChg>
      </pc:sldChg>
      <pc:sldChg chg="modSp del mod">
        <pc:chgData name="Rory Gribbell" userId="dcb3f803-7c40-4aae-8d54-bbe9c7b6ef77" providerId="ADAL" clId="{0AFFC9AC-7CBE-4847-AFEB-CB3CBB473BAF}" dt="2025-05-12T08:01:24.311" v="133" actId="47"/>
        <pc:sldMkLst>
          <pc:docMk/>
          <pc:sldMk cId="2181866114" sldId="257"/>
        </pc:sldMkLst>
      </pc:sldChg>
      <pc:sldChg chg="addSp delSp modSp mod chgLayout">
        <pc:chgData name="Rory Gribbell" userId="dcb3f803-7c40-4aae-8d54-bbe9c7b6ef77" providerId="ADAL" clId="{0AFFC9AC-7CBE-4847-AFEB-CB3CBB473BAF}" dt="2025-06-02T09:15:58.383" v="3870" actId="207"/>
        <pc:sldMkLst>
          <pc:docMk/>
          <pc:sldMk cId="481639250" sldId="258"/>
        </pc:sldMkLst>
        <pc:spChg chg="mod ord">
          <ac:chgData name="Rory Gribbell" userId="dcb3f803-7c40-4aae-8d54-bbe9c7b6ef77" providerId="ADAL" clId="{0AFFC9AC-7CBE-4847-AFEB-CB3CBB473BAF}" dt="2025-06-02T09:15:06.122" v="3840" actId="404"/>
          <ac:spMkLst>
            <pc:docMk/>
            <pc:sldMk cId="481639250" sldId="258"/>
            <ac:spMk id="3" creationId="{00000000-0000-0000-0000-000000000000}"/>
          </ac:spMkLst>
        </pc:spChg>
        <pc:spChg chg="add mod">
          <ac:chgData name="Rory Gribbell" userId="dcb3f803-7c40-4aae-8d54-bbe9c7b6ef77" providerId="ADAL" clId="{0AFFC9AC-7CBE-4847-AFEB-CB3CBB473BAF}" dt="2025-06-02T09:15:58.383" v="3870" actId="207"/>
          <ac:spMkLst>
            <pc:docMk/>
            <pc:sldMk cId="481639250" sldId="258"/>
            <ac:spMk id="14" creationId="{565C3EEA-9445-CCD9-4E5F-3DFF557E2CC3}"/>
          </ac:spMkLst>
        </pc:spChg>
        <pc:spChg chg="add mod">
          <ac:chgData name="Rory Gribbell" userId="dcb3f803-7c40-4aae-8d54-bbe9c7b6ef77" providerId="ADAL" clId="{0AFFC9AC-7CBE-4847-AFEB-CB3CBB473BAF}" dt="2025-06-02T09:14:42.133" v="3817"/>
          <ac:spMkLst>
            <pc:docMk/>
            <pc:sldMk cId="481639250" sldId="258"/>
            <ac:spMk id="15" creationId="{52D2923E-0937-94B1-8CB7-F9BBAE102760}"/>
          </ac:spMkLst>
        </pc:spChg>
        <pc:picChg chg="mod">
          <ac:chgData name="Rory Gribbell" userId="dcb3f803-7c40-4aae-8d54-bbe9c7b6ef77" providerId="ADAL" clId="{0AFFC9AC-7CBE-4847-AFEB-CB3CBB473BAF}" dt="2025-06-02T09:15:21.792" v="3866" actId="1035"/>
          <ac:picMkLst>
            <pc:docMk/>
            <pc:sldMk cId="481639250" sldId="258"/>
            <ac:picMk id="6" creationId="{00000000-0000-0000-0000-000000000000}"/>
          </ac:picMkLst>
        </pc:picChg>
        <pc:picChg chg="mod">
          <ac:chgData name="Rory Gribbell" userId="dcb3f803-7c40-4aae-8d54-bbe9c7b6ef77" providerId="ADAL" clId="{0AFFC9AC-7CBE-4847-AFEB-CB3CBB473BAF}" dt="2025-06-02T09:15:21.792" v="3866" actId="1035"/>
          <ac:picMkLst>
            <pc:docMk/>
            <pc:sldMk cId="481639250" sldId="258"/>
            <ac:picMk id="7" creationId="{00000000-0000-0000-0000-000000000000}"/>
          </ac:picMkLst>
        </pc:picChg>
        <pc:picChg chg="mod">
          <ac:chgData name="Rory Gribbell" userId="dcb3f803-7c40-4aae-8d54-bbe9c7b6ef77" providerId="ADAL" clId="{0AFFC9AC-7CBE-4847-AFEB-CB3CBB473BAF}" dt="2025-06-02T09:15:21.792" v="3866" actId="1035"/>
          <ac:picMkLst>
            <pc:docMk/>
            <pc:sldMk cId="481639250" sldId="258"/>
            <ac:picMk id="8" creationId="{00000000-0000-0000-0000-000000000000}"/>
          </ac:picMkLst>
        </pc:picChg>
        <pc:picChg chg="mod">
          <ac:chgData name="Rory Gribbell" userId="dcb3f803-7c40-4aae-8d54-bbe9c7b6ef77" providerId="ADAL" clId="{0AFFC9AC-7CBE-4847-AFEB-CB3CBB473BAF}" dt="2025-06-02T09:15:21.792" v="3866" actId="1035"/>
          <ac:picMkLst>
            <pc:docMk/>
            <pc:sldMk cId="481639250" sldId="258"/>
            <ac:picMk id="9" creationId="{00000000-0000-0000-0000-000000000000}"/>
          </ac:picMkLst>
        </pc:picChg>
      </pc:sldChg>
      <pc:sldChg chg="modSp add del mod">
        <pc:chgData name="Rory Gribbell" userId="dcb3f803-7c40-4aae-8d54-bbe9c7b6ef77" providerId="ADAL" clId="{0AFFC9AC-7CBE-4847-AFEB-CB3CBB473BAF}" dt="2025-05-12T08:01:26.750" v="134" actId="47"/>
        <pc:sldMkLst>
          <pc:docMk/>
          <pc:sldMk cId="602582295" sldId="259"/>
        </pc:sldMkLst>
      </pc:sldChg>
      <pc:sldChg chg="addSp modSp add mod ord modCm">
        <pc:chgData name="Rory Gribbell" userId="dcb3f803-7c40-4aae-8d54-bbe9c7b6ef77" providerId="ADAL" clId="{0AFFC9AC-7CBE-4847-AFEB-CB3CBB473BAF}" dt="2025-06-05T10:44:58.561" v="3907" actId="20577"/>
        <pc:sldMkLst>
          <pc:docMk/>
          <pc:sldMk cId="3408838836" sldId="661"/>
        </pc:sldMkLst>
        <pc:spChg chg="add mod">
          <ac:chgData name="Rory Gribbell" userId="dcb3f803-7c40-4aae-8d54-bbe9c7b6ef77" providerId="ADAL" clId="{0AFFC9AC-7CBE-4847-AFEB-CB3CBB473BAF}" dt="2025-06-05T10:44:58.561" v="3907" actId="20577"/>
          <ac:spMkLst>
            <pc:docMk/>
            <pc:sldMk cId="3408838836" sldId="661"/>
            <ac:spMk id="2" creationId="{7C1E460F-3437-B2E2-5461-43CDAA13FAD3}"/>
          </ac:spMkLst>
        </pc:spChg>
        <pc:spChg chg="add">
          <ac:chgData name="Rory Gribbell" userId="dcb3f803-7c40-4aae-8d54-bbe9c7b6ef77" providerId="ADAL" clId="{0AFFC9AC-7CBE-4847-AFEB-CB3CBB473BAF}" dt="2025-06-02T08:42:29.270" v="3268"/>
          <ac:spMkLst>
            <pc:docMk/>
            <pc:sldMk cId="3408838836" sldId="661"/>
            <ac:spMk id="4" creationId="{4F843C14-72D9-427B-8C7B-33F63B346D2A}"/>
          </ac:spMkLst>
        </pc:spChg>
        <pc:spChg chg="mod">
          <ac:chgData name="Rory Gribbell" userId="dcb3f803-7c40-4aae-8d54-bbe9c7b6ef77" providerId="ADAL" clId="{0AFFC9AC-7CBE-4847-AFEB-CB3CBB473BAF}" dt="2025-05-12T08:00:56.799" v="105" actId="20577"/>
          <ac:spMkLst>
            <pc:docMk/>
            <pc:sldMk cId="3408838836" sldId="661"/>
            <ac:spMk id="12" creationId="{E43BC7F2-B02C-46B9-9EFE-801E2713D8D0}"/>
          </ac:spMkLst>
        </pc:spChg>
        <pc:spChg chg="mod">
          <ac:chgData name="Rory Gribbell" userId="dcb3f803-7c40-4aae-8d54-bbe9c7b6ef77" providerId="ADAL" clId="{0AFFC9AC-7CBE-4847-AFEB-CB3CBB473BAF}" dt="2025-05-13T09:57:24.265" v="2486" actId="20577"/>
          <ac:spMkLst>
            <pc:docMk/>
            <pc:sldMk cId="3408838836" sldId="661"/>
            <ac:spMk id="19" creationId="{860F51F1-BC2C-AB78-20C3-D01B22944061}"/>
          </ac:spMkLst>
        </pc:spChg>
        <pc:picChg chg="add mod">
          <ac:chgData name="Rory Gribbell" userId="dcb3f803-7c40-4aae-8d54-bbe9c7b6ef77" providerId="ADAL" clId="{0AFFC9AC-7CBE-4847-AFEB-CB3CBB473BAF}" dt="2025-06-02T08:22:30.827" v="3076" actId="1076"/>
          <ac:picMkLst>
            <pc:docMk/>
            <pc:sldMk cId="3408838836" sldId="661"/>
            <ac:picMk id="5" creationId="{1EEB2466-4DF4-C625-CD0C-959F3950F4D3}"/>
          </ac:picMkLst>
        </pc:picChg>
        <pc:extLst>
          <p:ext xmlns:p="http://schemas.openxmlformats.org/presentationml/2006/main" uri="{D6D511B9-2390-475A-947B-AFAB55BFBCF1}">
            <pc226:cmChg xmlns:pc226="http://schemas.microsoft.com/office/powerpoint/2022/06/main/command" chg="mod">
              <pc226:chgData name="Rory Gribbell" userId="dcb3f803-7c40-4aae-8d54-bbe9c7b6ef77" providerId="ADAL" clId="{0AFFC9AC-7CBE-4847-AFEB-CB3CBB473BAF}" dt="2025-06-05T10:44:50.098" v="3901" actId="20577"/>
              <pc2:cmMkLst xmlns:pc2="http://schemas.microsoft.com/office/powerpoint/2019/9/main/command">
                <pc:docMk/>
                <pc:sldMk cId="3408838836" sldId="661"/>
                <pc2:cmMk id="{AFC6661D-9DFD-4621-9ADA-02BB41DC000E}"/>
              </pc2:cmMkLst>
            </pc226:cmChg>
          </p:ext>
        </pc:extLst>
      </pc:sldChg>
      <pc:sldChg chg="modSp add mod">
        <pc:chgData name="Rory Gribbell" userId="dcb3f803-7c40-4aae-8d54-bbe9c7b6ef77" providerId="ADAL" clId="{0AFFC9AC-7CBE-4847-AFEB-CB3CBB473BAF}" dt="2025-06-02T09:11:43.484" v="3769" actId="1076"/>
        <pc:sldMkLst>
          <pc:docMk/>
          <pc:sldMk cId="1442007672" sldId="667"/>
        </pc:sldMkLst>
        <pc:spChg chg="mod">
          <ac:chgData name="Rory Gribbell" userId="dcb3f803-7c40-4aae-8d54-bbe9c7b6ef77" providerId="ADAL" clId="{0AFFC9AC-7CBE-4847-AFEB-CB3CBB473BAF}" dt="2025-06-02T08:45:03.290" v="3289" actId="1076"/>
          <ac:spMkLst>
            <pc:docMk/>
            <pc:sldMk cId="1442007672" sldId="667"/>
            <ac:spMk id="12" creationId="{E43BC7F2-B02C-46B9-9EFE-801E2713D8D0}"/>
          </ac:spMkLst>
        </pc:spChg>
        <pc:picChg chg="mod">
          <ac:chgData name="Rory Gribbell" userId="dcb3f803-7c40-4aae-8d54-bbe9c7b6ef77" providerId="ADAL" clId="{0AFFC9AC-7CBE-4847-AFEB-CB3CBB473BAF}" dt="2025-06-02T09:11:43.484" v="3769" actId="1076"/>
          <ac:picMkLst>
            <pc:docMk/>
            <pc:sldMk cId="1442007672" sldId="667"/>
            <ac:picMk id="5" creationId="{EA74064B-A833-88E4-4282-6BABD1B43252}"/>
          </ac:picMkLst>
        </pc:picChg>
      </pc:sldChg>
      <pc:sldChg chg="add del">
        <pc:chgData name="Rory Gribbell" userId="dcb3f803-7c40-4aae-8d54-bbe9c7b6ef77" providerId="ADAL" clId="{0AFFC9AC-7CBE-4847-AFEB-CB3CBB473BAF}" dt="2025-05-12T07:37:58.228" v="64" actId="47"/>
        <pc:sldMkLst>
          <pc:docMk/>
          <pc:sldMk cId="331947600" sldId="2145706722"/>
        </pc:sldMkLst>
      </pc:sldChg>
      <pc:sldChg chg="addSp delSp modSp add mod modCm">
        <pc:chgData name="Rory Gribbell" userId="dcb3f803-7c40-4aae-8d54-bbe9c7b6ef77" providerId="ADAL" clId="{0AFFC9AC-7CBE-4847-AFEB-CB3CBB473BAF}" dt="2025-06-05T10:45:37.340" v="3914" actId="6549"/>
        <pc:sldMkLst>
          <pc:docMk/>
          <pc:sldMk cId="1719109326" sldId="2145706724"/>
        </pc:sldMkLst>
        <pc:spChg chg="mod">
          <ac:chgData name="Rory Gribbell" userId="dcb3f803-7c40-4aae-8d54-bbe9c7b6ef77" providerId="ADAL" clId="{0AFFC9AC-7CBE-4847-AFEB-CB3CBB473BAF}" dt="2025-06-02T08:46:01.955" v="3299" actId="113"/>
          <ac:spMkLst>
            <pc:docMk/>
            <pc:sldMk cId="1719109326" sldId="2145706724"/>
            <ac:spMk id="6" creationId="{550573E1-A3F9-408E-A618-859A08DED18C}"/>
          </ac:spMkLst>
        </pc:spChg>
        <pc:spChg chg="mod">
          <ac:chgData name="Rory Gribbell" userId="dcb3f803-7c40-4aae-8d54-bbe9c7b6ef77" providerId="ADAL" clId="{0AFFC9AC-7CBE-4847-AFEB-CB3CBB473BAF}" dt="2025-06-02T08:45:48.748" v="3298" actId="20577"/>
          <ac:spMkLst>
            <pc:docMk/>
            <pc:sldMk cId="1719109326" sldId="2145706724"/>
            <ac:spMk id="12" creationId="{E43BC7F2-B02C-46B9-9EFE-801E2713D8D0}"/>
          </ac:spMkLst>
        </pc:spChg>
        <pc:spChg chg="mod">
          <ac:chgData name="Rory Gribbell" userId="dcb3f803-7c40-4aae-8d54-bbe9c7b6ef77" providerId="ADAL" clId="{0AFFC9AC-7CBE-4847-AFEB-CB3CBB473BAF}" dt="2025-06-05T10:45:37.340" v="3914" actId="6549"/>
          <ac:spMkLst>
            <pc:docMk/>
            <pc:sldMk cId="1719109326" sldId="2145706724"/>
            <ac:spMk id="32" creationId="{229AA9AC-2B27-93D9-188F-79278787EA30}"/>
          </ac:spMkLst>
        </pc:spChg>
        <pc:grpChg chg="mod">
          <ac:chgData name="Rory Gribbell" userId="dcb3f803-7c40-4aae-8d54-bbe9c7b6ef77" providerId="ADAL" clId="{0AFFC9AC-7CBE-4847-AFEB-CB3CBB473BAF}" dt="2025-06-02T08:53:55.428" v="3387" actId="1035"/>
          <ac:grpSpMkLst>
            <pc:docMk/>
            <pc:sldMk cId="1719109326" sldId="2145706724"/>
            <ac:grpSpMk id="5" creationId="{83753B32-7A4D-4676-9033-DE96A64DE73B}"/>
          </ac:grpSpMkLst>
        </pc:grpChg>
        <pc:picChg chg="add mod">
          <ac:chgData name="Rory Gribbell" userId="dcb3f803-7c40-4aae-8d54-bbe9c7b6ef77" providerId="ADAL" clId="{0AFFC9AC-7CBE-4847-AFEB-CB3CBB473BAF}" dt="2025-06-02T08:51:44.773" v="3328" actId="14100"/>
          <ac:picMkLst>
            <pc:docMk/>
            <pc:sldMk cId="1719109326" sldId="2145706724"/>
            <ac:picMk id="9" creationId="{0E5F77BF-5C91-6F84-130B-FD4C154DEE06}"/>
          </ac:picMkLst>
        </pc:picChg>
        <pc:picChg chg="add mod modCrop">
          <ac:chgData name="Rory Gribbell" userId="dcb3f803-7c40-4aae-8d54-bbe9c7b6ef77" providerId="ADAL" clId="{0AFFC9AC-7CBE-4847-AFEB-CB3CBB473BAF}" dt="2025-06-02T08:52:23.683" v="3335" actId="1076"/>
          <ac:picMkLst>
            <pc:docMk/>
            <pc:sldMk cId="1719109326" sldId="2145706724"/>
            <ac:picMk id="16" creationId="{CB0CCB31-6017-31DE-B3F2-57299DED86F5}"/>
          </ac:picMkLst>
        </pc:picChg>
        <pc:picChg chg="add mod">
          <ac:chgData name="Rory Gribbell" userId="dcb3f803-7c40-4aae-8d54-bbe9c7b6ef77" providerId="ADAL" clId="{0AFFC9AC-7CBE-4847-AFEB-CB3CBB473BAF}" dt="2025-06-02T08:51:37.864" v="3325" actId="1076"/>
          <ac:picMkLst>
            <pc:docMk/>
            <pc:sldMk cId="1719109326" sldId="2145706724"/>
            <ac:picMk id="23" creationId="{FE58605D-2213-6E4E-CEC9-B659FFCB3905}"/>
          </ac:picMkLst>
        </pc:picChg>
        <pc:extLst>
          <p:ext xmlns:p="http://schemas.openxmlformats.org/presentationml/2006/main" uri="{D6D511B9-2390-475A-947B-AFAB55BFBCF1}">
            <pc226:cmChg xmlns:pc226="http://schemas.microsoft.com/office/powerpoint/2022/06/main/command" chg="mod">
              <pc226:chgData name="Rory Gribbell" userId="dcb3f803-7c40-4aae-8d54-bbe9c7b6ef77" providerId="ADAL" clId="{0AFFC9AC-7CBE-4847-AFEB-CB3CBB473BAF}" dt="2025-06-05T10:45:37.340" v="3914" actId="6549"/>
              <pc2:cmMkLst xmlns:pc2="http://schemas.microsoft.com/office/powerpoint/2019/9/main/command">
                <pc:docMk/>
                <pc:sldMk cId="1719109326" sldId="2145706724"/>
                <pc2:cmMk id="{13C62674-768C-4208-8F4B-81F31DA05B17}"/>
              </pc2:cmMkLst>
            </pc226:cmChg>
          </p:ext>
        </pc:extLst>
      </pc:sldChg>
      <pc:sldChg chg="modSp add del mod ord">
        <pc:chgData name="Rory Gribbell" userId="dcb3f803-7c40-4aae-8d54-bbe9c7b6ef77" providerId="ADAL" clId="{0AFFC9AC-7CBE-4847-AFEB-CB3CBB473BAF}" dt="2025-06-02T08:41:25.813" v="3261" actId="47"/>
        <pc:sldMkLst>
          <pc:docMk/>
          <pc:sldMk cId="3185090456" sldId="2145706745"/>
        </pc:sldMkLst>
      </pc:sldChg>
      <pc:sldChg chg="modSp add mod">
        <pc:chgData name="Rory Gribbell" userId="dcb3f803-7c40-4aae-8d54-bbe9c7b6ef77" providerId="ADAL" clId="{0AFFC9AC-7CBE-4847-AFEB-CB3CBB473BAF}" dt="2025-06-02T09:11:07.171" v="3768" actId="20577"/>
        <pc:sldMkLst>
          <pc:docMk/>
          <pc:sldMk cId="1925669049" sldId="2145706746"/>
        </pc:sldMkLst>
        <pc:spChg chg="mod">
          <ac:chgData name="Rory Gribbell" userId="dcb3f803-7c40-4aae-8d54-bbe9c7b6ef77" providerId="ADAL" clId="{0AFFC9AC-7CBE-4847-AFEB-CB3CBB473BAF}" dt="2025-06-02T09:06:57.049" v="3689" actId="122"/>
          <ac:spMkLst>
            <pc:docMk/>
            <pc:sldMk cId="1925669049" sldId="2145706746"/>
            <ac:spMk id="6" creationId="{550573E1-A3F9-408E-A618-859A08DED18C}"/>
          </ac:spMkLst>
        </pc:spChg>
        <pc:spChg chg="mod">
          <ac:chgData name="Rory Gribbell" userId="dcb3f803-7c40-4aae-8d54-bbe9c7b6ef77" providerId="ADAL" clId="{0AFFC9AC-7CBE-4847-AFEB-CB3CBB473BAF}" dt="2025-06-02T09:06:50.253" v="3688" actId="20577"/>
          <ac:spMkLst>
            <pc:docMk/>
            <pc:sldMk cId="1925669049" sldId="2145706746"/>
            <ac:spMk id="8" creationId="{99C3C849-175B-0920-9879-85B761B644A2}"/>
          </ac:spMkLst>
        </pc:spChg>
        <pc:spChg chg="mod">
          <ac:chgData name="Rory Gribbell" userId="dcb3f803-7c40-4aae-8d54-bbe9c7b6ef77" providerId="ADAL" clId="{0AFFC9AC-7CBE-4847-AFEB-CB3CBB473BAF}" dt="2025-06-02T08:44:51.874" v="3287" actId="1076"/>
          <ac:spMkLst>
            <pc:docMk/>
            <pc:sldMk cId="1925669049" sldId="2145706746"/>
            <ac:spMk id="12" creationId="{E43BC7F2-B02C-46B9-9EFE-801E2713D8D0}"/>
          </ac:spMkLst>
        </pc:spChg>
        <pc:spChg chg="mod">
          <ac:chgData name="Rory Gribbell" userId="dcb3f803-7c40-4aae-8d54-bbe9c7b6ef77" providerId="ADAL" clId="{0AFFC9AC-7CBE-4847-AFEB-CB3CBB473BAF}" dt="2025-06-02T09:09:43.398" v="3733" actId="20577"/>
          <ac:spMkLst>
            <pc:docMk/>
            <pc:sldMk cId="1925669049" sldId="2145706746"/>
            <ac:spMk id="17" creationId="{8C68ED38-24A6-F27C-9741-334DD23DA37D}"/>
          </ac:spMkLst>
        </pc:spChg>
        <pc:spChg chg="mod">
          <ac:chgData name="Rory Gribbell" userId="dcb3f803-7c40-4aae-8d54-bbe9c7b6ef77" providerId="ADAL" clId="{0AFFC9AC-7CBE-4847-AFEB-CB3CBB473BAF}" dt="2025-06-02T09:11:07.171" v="3768" actId="20577"/>
          <ac:spMkLst>
            <pc:docMk/>
            <pc:sldMk cId="1925669049" sldId="2145706746"/>
            <ac:spMk id="24" creationId="{FFE758C0-F46D-B857-38ED-B8B7BC8E7075}"/>
          </ac:spMkLst>
        </pc:spChg>
        <pc:graphicFrameChg chg="mod">
          <ac:chgData name="Rory Gribbell" userId="dcb3f803-7c40-4aae-8d54-bbe9c7b6ef77" providerId="ADAL" clId="{0AFFC9AC-7CBE-4847-AFEB-CB3CBB473BAF}" dt="2025-06-02T09:10:44.213" v="3765" actId="404"/>
          <ac:graphicFrameMkLst>
            <pc:docMk/>
            <pc:sldMk cId="1925669049" sldId="2145706746"/>
            <ac:graphicFrameMk id="21" creationId="{6D5B9A5B-98CD-C896-60F4-7532C15E5C40}"/>
          </ac:graphicFrameMkLst>
        </pc:graphicFrameChg>
        <pc:picChg chg="mod">
          <ac:chgData name="Rory Gribbell" userId="dcb3f803-7c40-4aae-8d54-bbe9c7b6ef77" providerId="ADAL" clId="{0AFFC9AC-7CBE-4847-AFEB-CB3CBB473BAF}" dt="2025-05-12T09:21:07.179" v="952" actId="1076"/>
          <ac:picMkLst>
            <pc:docMk/>
            <pc:sldMk cId="1925669049" sldId="2145706746"/>
            <ac:picMk id="16" creationId="{A6A2ED7D-A151-14F9-3D52-875FCE96743D}"/>
          </ac:picMkLst>
        </pc:picChg>
      </pc:sldChg>
      <pc:sldChg chg="delSp modSp add mod modCm">
        <pc:chgData name="Rory Gribbell" userId="dcb3f803-7c40-4aae-8d54-bbe9c7b6ef77" providerId="ADAL" clId="{0AFFC9AC-7CBE-4847-AFEB-CB3CBB473BAF}" dt="2025-06-05T10:46:57.950" v="3982" actId="20577"/>
        <pc:sldMkLst>
          <pc:docMk/>
          <pc:sldMk cId="44310315" sldId="2145706747"/>
        </pc:sldMkLst>
        <pc:spChg chg="mod">
          <ac:chgData name="Rory Gribbell" userId="dcb3f803-7c40-4aae-8d54-bbe9c7b6ef77" providerId="ADAL" clId="{0AFFC9AC-7CBE-4847-AFEB-CB3CBB473BAF}" dt="2025-06-02T09:03:37.085" v="3644" actId="1037"/>
          <ac:spMkLst>
            <pc:docMk/>
            <pc:sldMk cId="44310315" sldId="2145706747"/>
            <ac:spMk id="2" creationId="{30AA9937-FEF9-734B-0D6D-038C5C3DA222}"/>
          </ac:spMkLst>
        </pc:spChg>
        <pc:spChg chg="mod">
          <ac:chgData name="Rory Gribbell" userId="dcb3f803-7c40-4aae-8d54-bbe9c7b6ef77" providerId="ADAL" clId="{0AFFC9AC-7CBE-4847-AFEB-CB3CBB473BAF}" dt="2025-06-02T08:56:54.030" v="3484" actId="1076"/>
          <ac:spMkLst>
            <pc:docMk/>
            <pc:sldMk cId="44310315" sldId="2145706747"/>
            <ac:spMk id="6" creationId="{A5FFB17B-28E1-27EB-FAFE-10117E6A76E7}"/>
          </ac:spMkLst>
        </pc:spChg>
        <pc:spChg chg="mod">
          <ac:chgData name="Rory Gribbell" userId="dcb3f803-7c40-4aae-8d54-bbe9c7b6ef77" providerId="ADAL" clId="{0AFFC9AC-7CBE-4847-AFEB-CB3CBB473BAF}" dt="2025-06-02T08:44:39.531" v="3285" actId="1076"/>
          <ac:spMkLst>
            <pc:docMk/>
            <pc:sldMk cId="44310315" sldId="2145706747"/>
            <ac:spMk id="12" creationId="{4D8A3C39-0577-EFFA-C8BB-CC5B0F2660FF}"/>
          </ac:spMkLst>
        </pc:spChg>
        <pc:spChg chg="mod">
          <ac:chgData name="Rory Gribbell" userId="dcb3f803-7c40-4aae-8d54-bbe9c7b6ef77" providerId="ADAL" clId="{0AFFC9AC-7CBE-4847-AFEB-CB3CBB473BAF}" dt="2025-06-02T09:06:11.709" v="3680" actId="20577"/>
          <ac:spMkLst>
            <pc:docMk/>
            <pc:sldMk cId="44310315" sldId="2145706747"/>
            <ac:spMk id="20" creationId="{97AB611B-94A3-3320-2138-23133271D618}"/>
          </ac:spMkLst>
        </pc:spChg>
        <pc:spChg chg="mod">
          <ac:chgData name="Rory Gribbell" userId="dcb3f803-7c40-4aae-8d54-bbe9c7b6ef77" providerId="ADAL" clId="{0AFFC9AC-7CBE-4847-AFEB-CB3CBB473BAF}" dt="2025-06-05T10:46:57.950" v="3982" actId="20577"/>
          <ac:spMkLst>
            <pc:docMk/>
            <pc:sldMk cId="44310315" sldId="2145706747"/>
            <ac:spMk id="32" creationId="{37CA2949-9A3C-398E-6D60-4D0E6FBC67F4}"/>
          </ac:spMkLst>
        </pc:spChg>
        <pc:grpChg chg="mod">
          <ac:chgData name="Rory Gribbell" userId="dcb3f803-7c40-4aae-8d54-bbe9c7b6ef77" providerId="ADAL" clId="{0AFFC9AC-7CBE-4847-AFEB-CB3CBB473BAF}" dt="2025-05-12T08:23:47.049" v="937" actId="1076"/>
          <ac:grpSpMkLst>
            <pc:docMk/>
            <pc:sldMk cId="44310315" sldId="2145706747"/>
            <ac:grpSpMk id="5" creationId="{89816647-17CD-59C6-45FC-CF4486A7CB26}"/>
          </ac:grpSpMkLst>
        </pc:grpChg>
        <pc:grpChg chg="mod">
          <ac:chgData name="Rory Gribbell" userId="dcb3f803-7c40-4aae-8d54-bbe9c7b6ef77" providerId="ADAL" clId="{0AFFC9AC-7CBE-4847-AFEB-CB3CBB473BAF}" dt="2025-06-02T09:03:09.561" v="3628" actId="1076"/>
          <ac:grpSpMkLst>
            <pc:docMk/>
            <pc:sldMk cId="44310315" sldId="2145706747"/>
            <ac:grpSpMk id="11" creationId="{6CEC57D9-847B-3262-5250-4927FE2B1F26}"/>
          </ac:grpSpMkLst>
        </pc:grpChg>
        <pc:picChg chg="mod">
          <ac:chgData name="Rory Gribbell" userId="dcb3f803-7c40-4aae-8d54-bbe9c7b6ef77" providerId="ADAL" clId="{0AFFC9AC-7CBE-4847-AFEB-CB3CBB473BAF}" dt="2025-06-02T08:57:04.762" v="3522" actId="1035"/>
          <ac:picMkLst>
            <pc:docMk/>
            <pc:sldMk cId="44310315" sldId="2145706747"/>
            <ac:picMk id="10" creationId="{45EFDB0B-79C5-1AFC-7CF3-3F29C659B4F9}"/>
          </ac:picMkLst>
        </pc:picChg>
        <pc:picChg chg="mod">
          <ac:chgData name="Rory Gribbell" userId="dcb3f803-7c40-4aae-8d54-bbe9c7b6ef77" providerId="ADAL" clId="{0AFFC9AC-7CBE-4847-AFEB-CB3CBB473BAF}" dt="2025-06-02T09:02:06.805" v="3596" actId="1035"/>
          <ac:picMkLst>
            <pc:docMk/>
            <pc:sldMk cId="44310315" sldId="2145706747"/>
            <ac:picMk id="15" creationId="{CA852B19-1776-D20C-9FAD-B44A2674F6FC}"/>
          </ac:picMkLst>
        </pc:picChg>
        <pc:picChg chg="mod">
          <ac:chgData name="Rory Gribbell" userId="dcb3f803-7c40-4aae-8d54-bbe9c7b6ef77" providerId="ADAL" clId="{0AFFC9AC-7CBE-4847-AFEB-CB3CBB473BAF}" dt="2025-06-02T09:02:11.159" v="3605" actId="1035"/>
          <ac:picMkLst>
            <pc:docMk/>
            <pc:sldMk cId="44310315" sldId="2145706747"/>
            <ac:picMk id="17" creationId="{8764887E-06E6-6D42-497D-3523F3FA1E4C}"/>
          </ac:picMkLst>
        </pc:picChg>
        <pc:picChg chg="mod">
          <ac:chgData name="Rory Gribbell" userId="dcb3f803-7c40-4aae-8d54-bbe9c7b6ef77" providerId="ADAL" clId="{0AFFC9AC-7CBE-4847-AFEB-CB3CBB473BAF}" dt="2025-06-02T09:03:11.616" v="3629" actId="1076"/>
          <ac:picMkLst>
            <pc:docMk/>
            <pc:sldMk cId="44310315" sldId="2145706747"/>
            <ac:picMk id="19" creationId="{4B62BDE4-BF11-81DC-9975-4D923A75E49B}"/>
          </ac:picMkLst>
        </pc:picChg>
        <pc:picChg chg="mod">
          <ac:chgData name="Rory Gribbell" userId="dcb3f803-7c40-4aae-8d54-bbe9c7b6ef77" providerId="ADAL" clId="{0AFFC9AC-7CBE-4847-AFEB-CB3CBB473BAF}" dt="2025-06-02T09:03:47.670" v="3661" actId="1035"/>
          <ac:picMkLst>
            <pc:docMk/>
            <pc:sldMk cId="44310315" sldId="2145706747"/>
            <ac:picMk id="22" creationId="{122D627B-98E3-91CC-5B81-2EA0D6518242}"/>
          </ac:picMkLst>
        </pc:picChg>
        <pc:cxnChg chg="mod">
          <ac:chgData name="Rory Gribbell" userId="dcb3f803-7c40-4aae-8d54-bbe9c7b6ef77" providerId="ADAL" clId="{0AFFC9AC-7CBE-4847-AFEB-CB3CBB473BAF}" dt="2025-06-02T08:57:17.264" v="3546" actId="1035"/>
          <ac:cxnSpMkLst>
            <pc:docMk/>
            <pc:sldMk cId="44310315" sldId="2145706747"/>
            <ac:cxnSpMk id="7" creationId="{EE5FE043-F7E7-C05C-7DE9-43777E458817}"/>
          </ac:cxnSpMkLst>
        </pc:cxnChg>
        <pc:extLst>
          <p:ext xmlns:p="http://schemas.openxmlformats.org/presentationml/2006/main" uri="{D6D511B9-2390-475A-947B-AFAB55BFBCF1}">
            <pc226:cmChg xmlns:pc226="http://schemas.microsoft.com/office/powerpoint/2022/06/main/command" chg="mod">
              <pc226:chgData name="Rory Gribbell" userId="dcb3f803-7c40-4aae-8d54-bbe9c7b6ef77" providerId="ADAL" clId="{0AFFC9AC-7CBE-4847-AFEB-CB3CBB473BAF}" dt="2025-06-05T10:46:57.950" v="3982" actId="20577"/>
              <pc2:cmMkLst xmlns:pc2="http://schemas.microsoft.com/office/powerpoint/2019/9/main/command">
                <pc:docMk/>
                <pc:sldMk cId="44310315" sldId="2145706747"/>
                <pc2:cmMk id="{A00D9C6B-52E5-4F50-88EA-59554C722926}"/>
              </pc2:cmMkLst>
            </pc226:cmChg>
          </p:ext>
        </pc:extLst>
      </pc:sldChg>
      <pc:sldChg chg="new del">
        <pc:chgData name="Rory Gribbell" userId="dcb3f803-7c40-4aae-8d54-bbe9c7b6ef77" providerId="ADAL" clId="{0AFFC9AC-7CBE-4847-AFEB-CB3CBB473BAF}" dt="2025-05-12T08:04:12.602" v="139" actId="47"/>
        <pc:sldMkLst>
          <pc:docMk/>
          <pc:sldMk cId="1572687990" sldId="2145706747"/>
        </pc:sldMkLst>
      </pc:sldChg>
      <pc:sldChg chg="new del">
        <pc:chgData name="Rory Gribbell" userId="dcb3f803-7c40-4aae-8d54-bbe9c7b6ef77" providerId="ADAL" clId="{0AFFC9AC-7CBE-4847-AFEB-CB3CBB473BAF}" dt="2025-05-12T08:04:03.318" v="137" actId="680"/>
        <pc:sldMkLst>
          <pc:docMk/>
          <pc:sldMk cId="2354904569" sldId="2145706747"/>
        </pc:sldMkLst>
      </pc:sldChg>
      <pc:sldChg chg="addSp delSp modSp add mod">
        <pc:chgData name="Rory Gribbell" userId="dcb3f803-7c40-4aae-8d54-bbe9c7b6ef77" providerId="ADAL" clId="{0AFFC9AC-7CBE-4847-AFEB-CB3CBB473BAF}" dt="2025-06-02T09:15:52.814" v="3869" actId="207"/>
        <pc:sldMkLst>
          <pc:docMk/>
          <pc:sldMk cId="3514645785" sldId="2145706748"/>
        </pc:sldMkLst>
        <pc:spChg chg="mod">
          <ac:chgData name="Rory Gribbell" userId="dcb3f803-7c40-4aae-8d54-bbe9c7b6ef77" providerId="ADAL" clId="{0AFFC9AC-7CBE-4847-AFEB-CB3CBB473BAF}" dt="2025-06-02T09:11:54.924" v="3770" actId="113"/>
          <ac:spMkLst>
            <pc:docMk/>
            <pc:sldMk cId="3514645785" sldId="2145706748"/>
            <ac:spMk id="6" creationId="{B8839917-C699-E08B-A36B-F84C4C31D773}"/>
          </ac:spMkLst>
        </pc:spChg>
        <pc:spChg chg="mod">
          <ac:chgData name="Rory Gribbell" userId="dcb3f803-7c40-4aae-8d54-bbe9c7b6ef77" providerId="ADAL" clId="{0AFFC9AC-7CBE-4847-AFEB-CB3CBB473BAF}" dt="2025-06-02T09:15:52.814" v="3869" actId="207"/>
          <ac:spMkLst>
            <pc:docMk/>
            <pc:sldMk cId="3514645785" sldId="2145706748"/>
            <ac:spMk id="12" creationId="{92DC39AC-27F5-6A80-8619-9B4864ABE889}"/>
          </ac:spMkLst>
        </pc:spChg>
        <pc:spChg chg="mod">
          <ac:chgData name="Rory Gribbell" userId="dcb3f803-7c40-4aae-8d54-bbe9c7b6ef77" providerId="ADAL" clId="{0AFFC9AC-7CBE-4847-AFEB-CB3CBB473BAF}" dt="2025-05-13T09:55:53.441" v="2482" actId="20577"/>
          <ac:spMkLst>
            <pc:docMk/>
            <pc:sldMk cId="3514645785" sldId="2145706748"/>
            <ac:spMk id="32" creationId="{99BCF6EE-A509-CC8A-A87B-6556F3EB4F7E}"/>
          </ac:spMkLst>
        </pc:spChg>
        <pc:picChg chg="add mod">
          <ac:chgData name="Rory Gribbell" userId="dcb3f803-7c40-4aae-8d54-bbe9c7b6ef77" providerId="ADAL" clId="{0AFFC9AC-7CBE-4847-AFEB-CB3CBB473BAF}" dt="2025-06-02T09:13:07.266" v="3777" actId="1076"/>
          <ac:picMkLst>
            <pc:docMk/>
            <pc:sldMk cId="3514645785" sldId="2145706748"/>
            <ac:picMk id="4" creationId="{6D503FB6-D645-9E1A-A7FB-3B9D64DEA556}"/>
          </ac:picMkLst>
        </pc:picChg>
        <pc:picChg chg="add mod">
          <ac:chgData name="Rory Gribbell" userId="dcb3f803-7c40-4aae-8d54-bbe9c7b6ef77" providerId="ADAL" clId="{0AFFC9AC-7CBE-4847-AFEB-CB3CBB473BAF}" dt="2025-06-02T09:12:59.879" v="3775" actId="1076"/>
          <ac:picMkLst>
            <pc:docMk/>
            <pc:sldMk cId="3514645785" sldId="2145706748"/>
            <ac:picMk id="11" creationId="{D879C78E-3151-D57E-5D2E-8774E6B0156A}"/>
          </ac:picMkLst>
        </pc:picChg>
      </pc:sldChg>
      <pc:sldChg chg="addSp delSp modSp add mod modCm">
        <pc:chgData name="Rory Gribbell" userId="dcb3f803-7c40-4aae-8d54-bbe9c7b6ef77" providerId="ADAL" clId="{0AFFC9AC-7CBE-4847-AFEB-CB3CBB473BAF}" dt="2025-06-05T10:46:34.861" v="3977" actId="6549"/>
        <pc:sldMkLst>
          <pc:docMk/>
          <pc:sldMk cId="2179843027" sldId="2145706749"/>
        </pc:sldMkLst>
        <pc:spChg chg="mod">
          <ac:chgData name="Rory Gribbell" userId="dcb3f803-7c40-4aae-8d54-bbe9c7b6ef77" providerId="ADAL" clId="{0AFFC9AC-7CBE-4847-AFEB-CB3CBB473BAF}" dt="2025-06-02T08:56:22.833" v="3483" actId="113"/>
          <ac:spMkLst>
            <pc:docMk/>
            <pc:sldMk cId="2179843027" sldId="2145706749"/>
            <ac:spMk id="6" creationId="{58063D00-E9C6-73C8-090B-0F467BA08FC7}"/>
          </ac:spMkLst>
        </pc:spChg>
        <pc:spChg chg="mod">
          <ac:chgData name="Rory Gribbell" userId="dcb3f803-7c40-4aae-8d54-bbe9c7b6ef77" providerId="ADAL" clId="{0AFFC9AC-7CBE-4847-AFEB-CB3CBB473BAF}" dt="2025-06-02T08:44:08.883" v="3283" actId="1076"/>
          <ac:spMkLst>
            <pc:docMk/>
            <pc:sldMk cId="2179843027" sldId="2145706749"/>
            <ac:spMk id="12" creationId="{9B391AF4-C8BF-9EB4-578E-34ED25BB16CE}"/>
          </ac:spMkLst>
        </pc:spChg>
        <pc:spChg chg="mod">
          <ac:chgData name="Rory Gribbell" userId="dcb3f803-7c40-4aae-8d54-bbe9c7b6ef77" providerId="ADAL" clId="{0AFFC9AC-7CBE-4847-AFEB-CB3CBB473BAF}" dt="2025-06-05T10:46:34.861" v="3977" actId="6549"/>
          <ac:spMkLst>
            <pc:docMk/>
            <pc:sldMk cId="2179843027" sldId="2145706749"/>
            <ac:spMk id="32" creationId="{E6263A88-A98F-D3B5-01B4-476DCDAFA114}"/>
          </ac:spMkLst>
        </pc:spChg>
        <pc:grpChg chg="mod">
          <ac:chgData name="Rory Gribbell" userId="dcb3f803-7c40-4aae-8d54-bbe9c7b6ef77" providerId="ADAL" clId="{0AFFC9AC-7CBE-4847-AFEB-CB3CBB473BAF}" dt="2025-06-02T08:54:13.391" v="3407" actId="1035"/>
          <ac:grpSpMkLst>
            <pc:docMk/>
            <pc:sldMk cId="2179843027" sldId="2145706749"/>
            <ac:grpSpMk id="5" creationId="{14A8133A-5C90-305A-975D-C0750FD28D5B}"/>
          </ac:grpSpMkLst>
        </pc:grpChg>
        <pc:picChg chg="add mod">
          <ac:chgData name="Rory Gribbell" userId="dcb3f803-7c40-4aae-8d54-bbe9c7b6ef77" providerId="ADAL" clId="{0AFFC9AC-7CBE-4847-AFEB-CB3CBB473BAF}" dt="2025-06-02T08:50:41.108" v="3313" actId="1076"/>
          <ac:picMkLst>
            <pc:docMk/>
            <pc:sldMk cId="2179843027" sldId="2145706749"/>
            <ac:picMk id="4" creationId="{87D3E449-F499-6B2B-F13A-67BB4092B0C9}"/>
          </ac:picMkLst>
        </pc:picChg>
        <pc:picChg chg="add mod">
          <ac:chgData name="Rory Gribbell" userId="dcb3f803-7c40-4aae-8d54-bbe9c7b6ef77" providerId="ADAL" clId="{0AFFC9AC-7CBE-4847-AFEB-CB3CBB473BAF}" dt="2025-06-02T08:50:44.184" v="3314" actId="1076"/>
          <ac:picMkLst>
            <pc:docMk/>
            <pc:sldMk cId="2179843027" sldId="2145706749"/>
            <ac:picMk id="11" creationId="{06E1CDA6-7547-F595-3914-1ACB22D84056}"/>
          </ac:picMkLst>
        </pc:picChg>
        <pc:extLst>
          <p:ext xmlns:p="http://schemas.openxmlformats.org/presentationml/2006/main" uri="{D6D511B9-2390-475A-947B-AFAB55BFBCF1}">
            <pc226:cmChg xmlns:pc226="http://schemas.microsoft.com/office/powerpoint/2022/06/main/command" chg="mod">
              <pc226:chgData name="Rory Gribbell" userId="dcb3f803-7c40-4aae-8d54-bbe9c7b6ef77" providerId="ADAL" clId="{0AFFC9AC-7CBE-4847-AFEB-CB3CBB473BAF}" dt="2025-06-05T10:46:34.861" v="3977" actId="6549"/>
              <pc2:cmMkLst xmlns:pc2="http://schemas.microsoft.com/office/powerpoint/2019/9/main/command">
                <pc:docMk/>
                <pc:sldMk cId="2179843027" sldId="2145706749"/>
                <pc2:cmMk id="{F6D311CE-EFA0-43E9-8126-04168E1C17D4}"/>
              </pc2:cmMkLst>
            </pc226:cmChg>
            <pc226:cmChg xmlns:pc226="http://schemas.microsoft.com/office/powerpoint/2022/06/main/command" chg="mod">
              <pc226:chgData name="Rory Gribbell" userId="dcb3f803-7c40-4aae-8d54-bbe9c7b6ef77" providerId="ADAL" clId="{0AFFC9AC-7CBE-4847-AFEB-CB3CBB473BAF}" dt="2025-06-05T10:46:34.861" v="3977" actId="6549"/>
              <pc2:cmMkLst xmlns:pc2="http://schemas.microsoft.com/office/powerpoint/2019/9/main/command">
                <pc:docMk/>
                <pc:sldMk cId="2179843027" sldId="2145706749"/>
                <pc2:cmMk id="{0ABC36E5-0790-417F-8FC0-0E899B09D37E}"/>
              </pc2:cmMkLst>
            </pc226:cmChg>
            <pc226:cmChg xmlns:pc226="http://schemas.microsoft.com/office/powerpoint/2022/06/main/command" chg="mod">
              <pc226:chgData name="Rory Gribbell" userId="dcb3f803-7c40-4aae-8d54-bbe9c7b6ef77" providerId="ADAL" clId="{0AFFC9AC-7CBE-4847-AFEB-CB3CBB473BAF}" dt="2025-06-05T10:46:34.861" v="3977" actId="6549"/>
              <pc2:cmMkLst xmlns:pc2="http://schemas.microsoft.com/office/powerpoint/2019/9/main/command">
                <pc:docMk/>
                <pc:sldMk cId="2179843027" sldId="2145706749"/>
                <pc2:cmMk id="{A9FE95F0-9B56-4E81-8AB3-84F4568939CE}"/>
              </pc2:cmMkLst>
            </pc226:cmChg>
            <pc226:cmChg xmlns:pc226="http://schemas.microsoft.com/office/powerpoint/2022/06/main/command" chg="mod">
              <pc226:chgData name="Rory Gribbell" userId="dcb3f803-7c40-4aae-8d54-bbe9c7b6ef77" providerId="ADAL" clId="{0AFFC9AC-7CBE-4847-AFEB-CB3CBB473BAF}" dt="2025-06-05T10:46:04.115" v="3935" actId="20577"/>
              <pc2:cmMkLst xmlns:pc2="http://schemas.microsoft.com/office/powerpoint/2019/9/main/command">
                <pc:docMk/>
                <pc:sldMk cId="2179843027" sldId="2145706749"/>
                <pc2:cmMk id="{8DCBD2FA-0EA8-43BD-AAF4-773874482EAF}"/>
              </pc2:cmMkLst>
            </pc226:cmChg>
          </p:ext>
        </pc:extLst>
      </pc:sldChg>
      <pc:sldChg chg="addSp delSp modSp add mod modNotesTx">
        <pc:chgData name="Rory Gribbell" userId="dcb3f803-7c40-4aae-8d54-bbe9c7b6ef77" providerId="ADAL" clId="{0AFFC9AC-7CBE-4847-AFEB-CB3CBB473BAF}" dt="2025-06-02T08:45:38.755" v="3293" actId="20577"/>
        <pc:sldMkLst>
          <pc:docMk/>
          <pc:sldMk cId="4007854252" sldId="2145706750"/>
        </pc:sldMkLst>
        <pc:spChg chg="mod">
          <ac:chgData name="Rory Gribbell" userId="dcb3f803-7c40-4aae-8d54-bbe9c7b6ef77" providerId="ADAL" clId="{0AFFC9AC-7CBE-4847-AFEB-CB3CBB473BAF}" dt="2025-06-02T08:37:34.206" v="3258" actId="1076"/>
          <ac:spMkLst>
            <pc:docMk/>
            <pc:sldMk cId="4007854252" sldId="2145706750"/>
            <ac:spMk id="2" creationId="{9480DAB7-432B-0CFE-53C3-8F985B013C29}"/>
          </ac:spMkLst>
        </pc:spChg>
        <pc:spChg chg="add del mod">
          <ac:chgData name="Rory Gribbell" userId="dcb3f803-7c40-4aae-8d54-bbe9c7b6ef77" providerId="ADAL" clId="{0AFFC9AC-7CBE-4847-AFEB-CB3CBB473BAF}" dt="2025-06-02T08:42:40.169" v="3279" actId="1036"/>
          <ac:spMkLst>
            <pc:docMk/>
            <pc:sldMk cId="4007854252" sldId="2145706750"/>
            <ac:spMk id="3" creationId="{F1AB943C-1512-AF30-C795-FAD4F1C678DD}"/>
          </ac:spMkLst>
        </pc:spChg>
        <pc:spChg chg="mod">
          <ac:chgData name="Rory Gribbell" userId="dcb3f803-7c40-4aae-8d54-bbe9c7b6ef77" providerId="ADAL" clId="{0AFFC9AC-7CBE-4847-AFEB-CB3CBB473BAF}" dt="2025-06-02T08:25:49.665" v="3101" actId="12789"/>
          <ac:spMkLst>
            <pc:docMk/>
            <pc:sldMk cId="4007854252" sldId="2145706750"/>
            <ac:spMk id="7" creationId="{C1898175-B05D-7E98-F19F-E796CE77C982}"/>
          </ac:spMkLst>
        </pc:spChg>
        <pc:spChg chg="mod">
          <ac:chgData name="Rory Gribbell" userId="dcb3f803-7c40-4aae-8d54-bbe9c7b6ef77" providerId="ADAL" clId="{0AFFC9AC-7CBE-4847-AFEB-CB3CBB473BAF}" dt="2025-06-02T08:31:27.010" v="3200" actId="1036"/>
          <ac:spMkLst>
            <pc:docMk/>
            <pc:sldMk cId="4007854252" sldId="2145706750"/>
            <ac:spMk id="8" creationId="{5EB5883A-DBBF-BA32-3824-7E7F8D81ACF1}"/>
          </ac:spMkLst>
        </pc:spChg>
        <pc:spChg chg="mod">
          <ac:chgData name="Rory Gribbell" userId="dcb3f803-7c40-4aae-8d54-bbe9c7b6ef77" providerId="ADAL" clId="{0AFFC9AC-7CBE-4847-AFEB-CB3CBB473BAF}" dt="2025-06-02T08:31:27.010" v="3200" actId="1036"/>
          <ac:spMkLst>
            <pc:docMk/>
            <pc:sldMk cId="4007854252" sldId="2145706750"/>
            <ac:spMk id="10" creationId="{191F6FE5-C6E4-1C6A-425A-3230939462BD}"/>
          </ac:spMkLst>
        </pc:spChg>
        <pc:spChg chg="mod">
          <ac:chgData name="Rory Gribbell" userId="dcb3f803-7c40-4aae-8d54-bbe9c7b6ef77" providerId="ADAL" clId="{0AFFC9AC-7CBE-4847-AFEB-CB3CBB473BAF}" dt="2025-06-02T08:26:19.109" v="3110" actId="1076"/>
          <ac:spMkLst>
            <pc:docMk/>
            <pc:sldMk cId="4007854252" sldId="2145706750"/>
            <ac:spMk id="12" creationId="{E1B64451-9D17-EEBC-3578-D58240A77367}"/>
          </ac:spMkLst>
        </pc:spChg>
        <pc:spChg chg="mod">
          <ac:chgData name="Rory Gribbell" userId="dcb3f803-7c40-4aae-8d54-bbe9c7b6ef77" providerId="ADAL" clId="{0AFFC9AC-7CBE-4847-AFEB-CB3CBB473BAF}" dt="2025-06-02T08:25:57.278" v="3102" actId="1076"/>
          <ac:spMkLst>
            <pc:docMk/>
            <pc:sldMk cId="4007854252" sldId="2145706750"/>
            <ac:spMk id="14" creationId="{67A04BC3-1BC4-9447-6D7E-ADD1E8F75485}"/>
          </ac:spMkLst>
        </pc:spChg>
        <pc:spChg chg="mod">
          <ac:chgData name="Rory Gribbell" userId="dcb3f803-7c40-4aae-8d54-bbe9c7b6ef77" providerId="ADAL" clId="{0AFFC9AC-7CBE-4847-AFEB-CB3CBB473BAF}" dt="2025-06-02T08:26:13.928" v="3109" actId="1076"/>
          <ac:spMkLst>
            <pc:docMk/>
            <pc:sldMk cId="4007854252" sldId="2145706750"/>
            <ac:spMk id="18" creationId="{31894F0C-5A59-3DEF-646F-C9C9078317A8}"/>
          </ac:spMkLst>
        </pc:spChg>
        <pc:spChg chg="mod">
          <ac:chgData name="Rory Gribbell" userId="dcb3f803-7c40-4aae-8d54-bbe9c7b6ef77" providerId="ADAL" clId="{0AFFC9AC-7CBE-4847-AFEB-CB3CBB473BAF}" dt="2025-06-02T08:31:27.010" v="3200" actId="1036"/>
          <ac:spMkLst>
            <pc:docMk/>
            <pc:sldMk cId="4007854252" sldId="2145706750"/>
            <ac:spMk id="20" creationId="{79D8A37C-C41B-7994-CC23-3B4A9E9367AD}"/>
          </ac:spMkLst>
        </pc:spChg>
        <pc:spChg chg="mod">
          <ac:chgData name="Rory Gribbell" userId="dcb3f803-7c40-4aae-8d54-bbe9c7b6ef77" providerId="ADAL" clId="{0AFFC9AC-7CBE-4847-AFEB-CB3CBB473BAF}" dt="2025-06-02T08:33:13.331" v="3203" actId="255"/>
          <ac:spMkLst>
            <pc:docMk/>
            <pc:sldMk cId="4007854252" sldId="2145706750"/>
            <ac:spMk id="21" creationId="{356CBD04-34CD-07BA-5B05-07CE32CB04FC}"/>
          </ac:spMkLst>
        </pc:spChg>
        <pc:spChg chg="mod">
          <ac:chgData name="Rory Gribbell" userId="dcb3f803-7c40-4aae-8d54-bbe9c7b6ef77" providerId="ADAL" clId="{0AFFC9AC-7CBE-4847-AFEB-CB3CBB473BAF}" dt="2025-06-02T08:33:13.331" v="3203" actId="255"/>
          <ac:spMkLst>
            <pc:docMk/>
            <pc:sldMk cId="4007854252" sldId="2145706750"/>
            <ac:spMk id="22" creationId="{02CCE2B1-AD15-C51B-5A45-2E78B12C488B}"/>
          </ac:spMkLst>
        </pc:spChg>
        <pc:spChg chg="mod">
          <ac:chgData name="Rory Gribbell" userId="dcb3f803-7c40-4aae-8d54-bbe9c7b6ef77" providerId="ADAL" clId="{0AFFC9AC-7CBE-4847-AFEB-CB3CBB473BAF}" dt="2025-06-02T08:33:13.331" v="3203" actId="255"/>
          <ac:spMkLst>
            <pc:docMk/>
            <pc:sldMk cId="4007854252" sldId="2145706750"/>
            <ac:spMk id="23" creationId="{32A1B643-C415-96A7-2E95-C9B352715B8B}"/>
          </ac:spMkLst>
        </pc:spChg>
        <pc:spChg chg="mod">
          <ac:chgData name="Rory Gribbell" userId="dcb3f803-7c40-4aae-8d54-bbe9c7b6ef77" providerId="ADAL" clId="{0AFFC9AC-7CBE-4847-AFEB-CB3CBB473BAF}" dt="2025-06-02T08:33:13.331" v="3203" actId="255"/>
          <ac:spMkLst>
            <pc:docMk/>
            <pc:sldMk cId="4007854252" sldId="2145706750"/>
            <ac:spMk id="24" creationId="{C04921CE-A186-5825-84F5-881B9E1A4A8C}"/>
          </ac:spMkLst>
        </pc:spChg>
        <pc:spChg chg="mod">
          <ac:chgData name="Rory Gribbell" userId="dcb3f803-7c40-4aae-8d54-bbe9c7b6ef77" providerId="ADAL" clId="{0AFFC9AC-7CBE-4847-AFEB-CB3CBB473BAF}" dt="2025-06-02T08:33:13.331" v="3203" actId="255"/>
          <ac:spMkLst>
            <pc:docMk/>
            <pc:sldMk cId="4007854252" sldId="2145706750"/>
            <ac:spMk id="25" creationId="{91F246E0-895F-D974-8F08-7BE39A2A49D0}"/>
          </ac:spMkLst>
        </pc:spChg>
        <pc:spChg chg="mod">
          <ac:chgData name="Rory Gribbell" userId="dcb3f803-7c40-4aae-8d54-bbe9c7b6ef77" providerId="ADAL" clId="{0AFFC9AC-7CBE-4847-AFEB-CB3CBB473BAF}" dt="2025-06-02T08:33:13.331" v="3203" actId="255"/>
          <ac:spMkLst>
            <pc:docMk/>
            <pc:sldMk cId="4007854252" sldId="2145706750"/>
            <ac:spMk id="26" creationId="{6CE1C4B5-D0C5-E514-1AB5-7C0CB98BDF25}"/>
          </ac:spMkLst>
        </pc:spChg>
        <pc:spChg chg="mod">
          <ac:chgData name="Rory Gribbell" userId="dcb3f803-7c40-4aae-8d54-bbe9c7b6ef77" providerId="ADAL" clId="{0AFFC9AC-7CBE-4847-AFEB-CB3CBB473BAF}" dt="2025-06-02T08:33:13.331" v="3203" actId="255"/>
          <ac:spMkLst>
            <pc:docMk/>
            <pc:sldMk cId="4007854252" sldId="2145706750"/>
            <ac:spMk id="27" creationId="{250EDB68-0C56-4E85-BD1C-A84A299B328A}"/>
          </ac:spMkLst>
        </pc:spChg>
        <pc:spChg chg="mod">
          <ac:chgData name="Rory Gribbell" userId="dcb3f803-7c40-4aae-8d54-bbe9c7b6ef77" providerId="ADAL" clId="{0AFFC9AC-7CBE-4847-AFEB-CB3CBB473BAF}" dt="2025-06-02T08:31:27.010" v="3200" actId="1036"/>
          <ac:spMkLst>
            <pc:docMk/>
            <pc:sldMk cId="4007854252" sldId="2145706750"/>
            <ac:spMk id="37" creationId="{3F92B798-71DC-173A-486D-4459106F692B}"/>
          </ac:spMkLst>
        </pc:spChg>
        <pc:spChg chg="mod">
          <ac:chgData name="Rory Gribbell" userId="dcb3f803-7c40-4aae-8d54-bbe9c7b6ef77" providerId="ADAL" clId="{0AFFC9AC-7CBE-4847-AFEB-CB3CBB473BAF}" dt="2025-06-02T08:31:27.010" v="3200" actId="1036"/>
          <ac:spMkLst>
            <pc:docMk/>
            <pc:sldMk cId="4007854252" sldId="2145706750"/>
            <ac:spMk id="39" creationId="{52B01A2E-A8E0-3662-3BF3-DD3DFE705E4A}"/>
          </ac:spMkLst>
        </pc:spChg>
        <pc:spChg chg="mod">
          <ac:chgData name="Rory Gribbell" userId="dcb3f803-7c40-4aae-8d54-bbe9c7b6ef77" providerId="ADAL" clId="{0AFFC9AC-7CBE-4847-AFEB-CB3CBB473BAF}" dt="2025-06-02T08:26:06.536" v="3106" actId="12788"/>
          <ac:spMkLst>
            <pc:docMk/>
            <pc:sldMk cId="4007854252" sldId="2145706750"/>
            <ac:spMk id="40" creationId="{BDA17C6E-1151-38C8-3085-4F5CDA75242E}"/>
          </ac:spMkLst>
        </pc:spChg>
        <pc:spChg chg="mod">
          <ac:chgData name="Rory Gribbell" userId="dcb3f803-7c40-4aae-8d54-bbe9c7b6ef77" providerId="ADAL" clId="{0AFFC9AC-7CBE-4847-AFEB-CB3CBB473BAF}" dt="2025-06-02T08:24:42.418" v="3089" actId="408"/>
          <ac:spMkLst>
            <pc:docMk/>
            <pc:sldMk cId="4007854252" sldId="2145706750"/>
            <ac:spMk id="41" creationId="{B44AA413-DE64-4FF2-49F4-0FA5E404EE79}"/>
          </ac:spMkLst>
        </pc:spChg>
        <pc:spChg chg="mod">
          <ac:chgData name="Rory Gribbell" userId="dcb3f803-7c40-4aae-8d54-bbe9c7b6ef77" providerId="ADAL" clId="{0AFFC9AC-7CBE-4847-AFEB-CB3CBB473BAF}" dt="2025-06-02T08:31:27.010" v="3200" actId="1036"/>
          <ac:spMkLst>
            <pc:docMk/>
            <pc:sldMk cId="4007854252" sldId="2145706750"/>
            <ac:spMk id="44" creationId="{A30DE2E2-EC16-C0C4-02BD-C06D3AE0A71D}"/>
          </ac:spMkLst>
        </pc:spChg>
        <pc:spChg chg="mod">
          <ac:chgData name="Rory Gribbell" userId="dcb3f803-7c40-4aae-8d54-bbe9c7b6ef77" providerId="ADAL" clId="{0AFFC9AC-7CBE-4847-AFEB-CB3CBB473BAF}" dt="2025-06-02T08:24:42.418" v="3089" actId="408"/>
          <ac:spMkLst>
            <pc:docMk/>
            <pc:sldMk cId="4007854252" sldId="2145706750"/>
            <ac:spMk id="46" creationId="{5C031F29-15F5-2589-8D35-681E2F5C61E5}"/>
          </ac:spMkLst>
        </pc:spChg>
        <pc:spChg chg="mod">
          <ac:chgData name="Rory Gribbell" userId="dcb3f803-7c40-4aae-8d54-bbe9c7b6ef77" providerId="ADAL" clId="{0AFFC9AC-7CBE-4847-AFEB-CB3CBB473BAF}" dt="2025-06-02T08:31:27.010" v="3200" actId="1036"/>
          <ac:spMkLst>
            <pc:docMk/>
            <pc:sldMk cId="4007854252" sldId="2145706750"/>
            <ac:spMk id="47" creationId="{4E2FDA77-3233-E080-3D93-5E8B14625E41}"/>
          </ac:spMkLst>
        </pc:spChg>
        <pc:spChg chg="mod">
          <ac:chgData name="Rory Gribbell" userId="dcb3f803-7c40-4aae-8d54-bbe9c7b6ef77" providerId="ADAL" clId="{0AFFC9AC-7CBE-4847-AFEB-CB3CBB473BAF}" dt="2025-06-02T08:24:42.418" v="3089" actId="408"/>
          <ac:spMkLst>
            <pc:docMk/>
            <pc:sldMk cId="4007854252" sldId="2145706750"/>
            <ac:spMk id="57" creationId="{2C546572-8C9C-5DC8-EF85-CF113C96681B}"/>
          </ac:spMkLst>
        </pc:spChg>
        <pc:spChg chg="mod">
          <ac:chgData name="Rory Gribbell" userId="dcb3f803-7c40-4aae-8d54-bbe9c7b6ef77" providerId="ADAL" clId="{0AFFC9AC-7CBE-4847-AFEB-CB3CBB473BAF}" dt="2025-06-02T08:24:42.418" v="3089" actId="408"/>
          <ac:spMkLst>
            <pc:docMk/>
            <pc:sldMk cId="4007854252" sldId="2145706750"/>
            <ac:spMk id="59" creationId="{1456D179-9AED-B230-2F91-EBA4E6B01138}"/>
          </ac:spMkLst>
        </pc:spChg>
        <pc:spChg chg="mod">
          <ac:chgData name="Rory Gribbell" userId="dcb3f803-7c40-4aae-8d54-bbe9c7b6ef77" providerId="ADAL" clId="{0AFFC9AC-7CBE-4847-AFEB-CB3CBB473BAF}" dt="2025-06-02T08:31:27.010" v="3200" actId="1036"/>
          <ac:spMkLst>
            <pc:docMk/>
            <pc:sldMk cId="4007854252" sldId="2145706750"/>
            <ac:spMk id="60" creationId="{75A4A236-66AC-BE3A-E334-A23F73B6C2CA}"/>
          </ac:spMkLst>
        </pc:spChg>
        <pc:grpChg chg="mod">
          <ac:chgData name="Rory Gribbell" userId="dcb3f803-7c40-4aae-8d54-bbe9c7b6ef77" providerId="ADAL" clId="{0AFFC9AC-7CBE-4847-AFEB-CB3CBB473BAF}" dt="2025-06-02T08:26:10.947" v="3108" actId="12788"/>
          <ac:grpSpMkLst>
            <pc:docMk/>
            <pc:sldMk cId="4007854252" sldId="2145706750"/>
            <ac:grpSpMk id="36" creationId="{4F6120AC-0ED3-5B99-8C3B-05DC7AED79C8}"/>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4765425677973342E-2"/>
          <c:y val="4.9661724836968471E-2"/>
          <c:w val="0.93429750297589509"/>
          <c:h val="0.7069403381822951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A66E-4BA6-8C9D-92F6AB4F69CE}"/>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A66E-4BA6-8C9D-92F6AB4F69CE}"/>
              </c:ext>
            </c:extLst>
          </c:dPt>
          <c:dPt>
            <c:idx val="2"/>
            <c:invertIfNegative val="0"/>
            <c:bubble3D val="0"/>
            <c:spPr>
              <a:solidFill>
                <a:srgbClr val="92D050"/>
              </a:solidFill>
              <a:ln>
                <a:noFill/>
              </a:ln>
              <a:effectLst/>
            </c:spPr>
            <c:extLst>
              <c:ext xmlns:c16="http://schemas.microsoft.com/office/drawing/2014/chart" uri="{C3380CC4-5D6E-409C-BE32-E72D297353CC}">
                <c16:uniqueId val="{00000005-A66E-4BA6-8C9D-92F6AB4F69CE}"/>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A66E-4BA6-8C9D-92F6AB4F69CE}"/>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9-A66E-4BA6-8C9D-92F6AB4F69CE}"/>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A66E-4BA6-8C9D-92F6AB4F69CE}"/>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ullet point summary</c:v>
                </c:pt>
                <c:pt idx="1">
                  <c:v>Narrative description</c:v>
                </c:pt>
                <c:pt idx="2">
                  <c:v>Separate judgements for each area</c:v>
                </c:pt>
                <c:pt idx="3">
                  <c:v>Overview of DfE performance data</c:v>
                </c:pt>
                <c:pt idx="4">
                  <c:v>A rating scale (0-5)</c:v>
                </c:pt>
                <c:pt idx="5">
                  <c:v>Letter grades</c:v>
                </c:pt>
              </c:strCache>
            </c:strRef>
          </c:cat>
          <c:val>
            <c:numRef>
              <c:f>Sheet1!$B$2:$B$7</c:f>
              <c:numCache>
                <c:formatCode>0%</c:formatCode>
                <c:ptCount val="6"/>
                <c:pt idx="0">
                  <c:v>0.65</c:v>
                </c:pt>
                <c:pt idx="1">
                  <c:v>0.59</c:v>
                </c:pt>
                <c:pt idx="2">
                  <c:v>0.53</c:v>
                </c:pt>
                <c:pt idx="3">
                  <c:v>0.32</c:v>
                </c:pt>
                <c:pt idx="4">
                  <c:v>0.27</c:v>
                </c:pt>
                <c:pt idx="5">
                  <c:v>0.14000000000000001</c:v>
                </c:pt>
              </c:numCache>
            </c:numRef>
          </c:val>
          <c:extLst>
            <c:ext xmlns:c16="http://schemas.microsoft.com/office/drawing/2014/chart" uri="{C3380CC4-5D6E-409C-BE32-E72D297353CC}">
              <c16:uniqueId val="{0000000C-A66E-4BA6-8C9D-92F6AB4F69CE}"/>
            </c:ext>
          </c:extLst>
        </c:ser>
        <c:dLbls>
          <c:showLegendKey val="0"/>
          <c:showVal val="0"/>
          <c:showCatName val="0"/>
          <c:showSerName val="0"/>
          <c:showPercent val="0"/>
          <c:showBubbleSize val="0"/>
        </c:dLbls>
        <c:gapWidth val="60"/>
        <c:overlap val="-27"/>
        <c:axId val="767563840"/>
        <c:axId val="767576320"/>
      </c:barChart>
      <c:catAx>
        <c:axId val="76756384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67576320"/>
        <c:crosses val="autoZero"/>
        <c:auto val="1"/>
        <c:lblAlgn val="ctr"/>
        <c:lblOffset val="100"/>
        <c:noMultiLvlLbl val="0"/>
      </c:catAx>
      <c:valAx>
        <c:axId val="767576320"/>
        <c:scaling>
          <c:orientation val="minMax"/>
        </c:scaling>
        <c:delete val="1"/>
        <c:axPos val="l"/>
        <c:numFmt formatCode="0%" sourceLinked="1"/>
        <c:majorTickMark val="none"/>
        <c:minorTickMark val="none"/>
        <c:tickLblPos val="nextTo"/>
        <c:crossAx val="767563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7F803F-D1A1-4D52-A3DB-A77171E4F83A}" type="datetimeFigureOut">
              <a:rPr lang="en-GB" smtClean="0"/>
              <a:t>05/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C5A11B-B8B8-44F3-860C-35CF1D16E115}" type="slidenum">
              <a:rPr lang="en-GB" smtClean="0"/>
              <a:t>‹#›</a:t>
            </a:fld>
            <a:endParaRPr lang="en-GB"/>
          </a:p>
        </p:txBody>
      </p:sp>
    </p:spTree>
    <p:extLst>
      <p:ext uri="{BB962C8B-B14F-4D97-AF65-F5344CB8AC3E}">
        <p14:creationId xmlns:p14="http://schemas.microsoft.com/office/powerpoint/2010/main" val="3597019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90% g/o gon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5A11B-B8B8-44F3-860C-35CF1D16E1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145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E2083-ABB8-5258-99FA-E3BDBEC720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7D4A1-887B-0D71-AFBF-C875F890AC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3AA978-E7E4-490E-3501-AC353EDB47CC}"/>
              </a:ext>
            </a:extLst>
          </p:cNvPr>
          <p:cNvSpPr>
            <a:spLocks noGrp="1"/>
          </p:cNvSpPr>
          <p:nvPr>
            <p:ph type="body" idx="1"/>
          </p:nvPr>
        </p:nvSpPr>
        <p:spPr/>
        <p:txBody>
          <a:bodyPr/>
          <a:lstStyle/>
          <a:p>
            <a:endParaRPr lang="en-US" dirty="0">
              <a:cs typeface="Calibri"/>
            </a:endParaRPr>
          </a:p>
        </p:txBody>
      </p:sp>
      <p:sp>
        <p:nvSpPr>
          <p:cNvPr id="4" name="Slide Number Placeholder 3">
            <a:extLst>
              <a:ext uri="{FF2B5EF4-FFF2-40B4-BE49-F238E27FC236}">
                <a16:creationId xmlns:a16="http://schemas.microsoft.com/office/drawing/2014/main" id="{EBA6B862-C820-6AED-BD3A-9AF027BB19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645027-4F8D-43EB-9FE6-BB8F402037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694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5A11B-B8B8-44F3-860C-35CF1D16E1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2618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BEAF-EA7D-BE6F-2D7A-314D4A9D54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79ACE-F101-8E8E-3844-1084FB2263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EA2997-B7C2-549D-2059-F9454D81FEC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17057AA-27A3-D697-7F40-2F809560043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5A11B-B8B8-44F3-860C-35CF1D16E1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178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C15506-61BB-741D-B2C5-5A529DA724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A97090-9F86-354A-22B2-26F11FFAB6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67EC05-022B-95C4-C6DB-64F635E3303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2706DF3-405B-BFC5-3E6C-C1BBA41F23F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5A11B-B8B8-44F3-860C-35CF1D16E1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6413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5A11B-B8B8-44F3-860C-35CF1D16E1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0583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atin typeface="Calibri" panose="020F0502020204030204" pitchFamily="34" charset="0"/>
                <a:ea typeface="Calibri" panose="020F0502020204030204" pitchFamily="34" charset="0"/>
                <a:cs typeface="Arial" panose="020B0604020202020204" pitchFamily="34" charset="0"/>
              </a:rPr>
              <a:t>The new framework and report card will look different. And they will feel different. They begin as a diagnostic assessment to help schools improve – schools should be able to see what they need to do to do things well. This is a different relationship to now. But where schools are not good enough there is still a hard edge – high standards and accountability. </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Segoe UI" panose="020B0502040204020203" pitchFamily="34" charset="0"/>
              </a:rPr>
              <a:t>We will reset our relations with the system through a reformed model of inspection, reporting and through the insights we gather across education, children's services and skills. Our aim is to: </a:t>
            </a:r>
            <a:br>
              <a:rPr lang="en-GB" sz="1800">
                <a:effectLst/>
                <a:latin typeface="Segoe UI" panose="020B0502040204020203" pitchFamily="34" charset="0"/>
              </a:rPr>
            </a:br>
            <a:r>
              <a:rPr lang="en-GB" sz="1800">
                <a:effectLst/>
                <a:latin typeface="Segoe UI" panose="020B0502040204020203" pitchFamily="34" charset="0"/>
              </a:rPr>
              <a:t>*provide high quality, informative reports to parents</a:t>
            </a:r>
            <a:br>
              <a:rPr lang="en-GB" sz="1800">
                <a:effectLst/>
                <a:latin typeface="Segoe UI" panose="020B0502040204020203" pitchFamily="34" charset="0"/>
              </a:rPr>
            </a:br>
            <a:r>
              <a:rPr lang="en-GB" sz="1800">
                <a:effectLst/>
                <a:latin typeface="Segoe UI" panose="020B0502040204020203" pitchFamily="34" charset="0"/>
              </a:rPr>
              <a:t>*give education providers a diagnostic toolkit which will enable self-improvement and support Regions Group to ensure opportunity for all</a:t>
            </a:r>
            <a:br>
              <a:rPr lang="en-GB" sz="1800">
                <a:effectLst/>
                <a:latin typeface="Segoe UI" panose="020B0502040204020203" pitchFamily="34" charset="0"/>
              </a:rPr>
            </a:br>
            <a:r>
              <a:rPr lang="en-GB" sz="1800">
                <a:effectLst/>
                <a:latin typeface="Segoe UI" panose="020B0502040204020203" pitchFamily="34" charset="0"/>
              </a:rPr>
              <a:t>*develop insights which inform parliament and supports targeted and evidence-based policy decisions from the DfE</a:t>
            </a:r>
            <a:br>
              <a:rPr lang="en-GB" sz="1800">
                <a:effectLst/>
                <a:latin typeface="Segoe UI" panose="020B0502040204020203" pitchFamily="34" charset="0"/>
              </a:rPr>
            </a:br>
            <a:br>
              <a:rPr lang="en-GB" sz="1800">
                <a:effectLst/>
                <a:latin typeface="Segoe UI" panose="020B0502040204020203" pitchFamily="34" charset="0"/>
              </a:rPr>
            </a:br>
            <a:r>
              <a:rPr lang="en-GB" sz="1800">
                <a:effectLst/>
                <a:latin typeface="Segoe UI" panose="020B0502040204020203" pitchFamily="34" charset="0"/>
              </a:rPr>
              <a:t>We will have courageous conversations on behalf of children, holding the system to account where standards are unacceptable - including where schools are 'stuck'. </a:t>
            </a:r>
            <a:endParaRPr lang="en-GB" sz="1800">
              <a:effectLst/>
              <a:latin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5A11B-B8B8-44F3-860C-35CF1D16E1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891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E7983-1B0E-AB58-D410-4C114F02F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5D8D2E-63AE-CBB8-D321-9A47D04F09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EF30B9-3DD5-214E-7FA0-7DA06F5E97E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340AC8F-C3F2-CF21-FB5B-17870214FA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5A11B-B8B8-44F3-860C-35CF1D16E1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7682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bwMode="auto">
          <a:xfrm>
            <a:off x="0" y="0"/>
            <a:ext cx="12192000" cy="6858000"/>
          </a:xfrm>
          <a:prstGeom prst="rect">
            <a:avLst/>
          </a:prstGeom>
          <a:solidFill>
            <a:srgbClr val="009ABC"/>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0" name="Freeform 54"/>
          <p:cNvSpPr>
            <a:spLocks/>
          </p:cNvSpPr>
          <p:nvPr userDrawn="1"/>
        </p:nvSpPr>
        <p:spPr bwMode="auto">
          <a:xfrm>
            <a:off x="666001" y="6315812"/>
            <a:ext cx="10924476" cy="542188"/>
          </a:xfrm>
          <a:custGeom>
            <a:avLst/>
            <a:gdLst>
              <a:gd name="T0" fmla="*/ 3000 w 3000"/>
              <a:gd name="T1" fmla="*/ 146 h 146"/>
              <a:gd name="T2" fmla="*/ 3000 w 3000"/>
              <a:gd name="T3" fmla="*/ 49 h 146"/>
              <a:gd name="T4" fmla="*/ 2951 w 3000"/>
              <a:gd name="T5" fmla="*/ 0 h 146"/>
              <a:gd name="T6" fmla="*/ 48 w 3000"/>
              <a:gd name="T7" fmla="*/ 0 h 146"/>
              <a:gd name="T8" fmla="*/ 0 w 3000"/>
              <a:gd name="T9" fmla="*/ 49 h 146"/>
              <a:gd name="T10" fmla="*/ 0 w 3000"/>
              <a:gd name="T11" fmla="*/ 146 h 146"/>
              <a:gd name="T12" fmla="*/ 3000 w 3000"/>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3000" h="146">
                <a:moveTo>
                  <a:pt x="3000" y="146"/>
                </a:moveTo>
                <a:cubicBezTo>
                  <a:pt x="3000" y="49"/>
                  <a:pt x="3000" y="49"/>
                  <a:pt x="3000" y="49"/>
                </a:cubicBezTo>
                <a:cubicBezTo>
                  <a:pt x="3000" y="22"/>
                  <a:pt x="2978" y="0"/>
                  <a:pt x="2951" y="0"/>
                </a:cubicBezTo>
                <a:cubicBezTo>
                  <a:pt x="48" y="0"/>
                  <a:pt x="48" y="0"/>
                  <a:pt x="48" y="0"/>
                </a:cubicBezTo>
                <a:cubicBezTo>
                  <a:pt x="21" y="0"/>
                  <a:pt x="0" y="22"/>
                  <a:pt x="0" y="49"/>
                </a:cubicBezTo>
                <a:cubicBezTo>
                  <a:pt x="0" y="146"/>
                  <a:pt x="0" y="146"/>
                  <a:pt x="0" y="146"/>
                </a:cubicBezTo>
                <a:lnTo>
                  <a:pt x="3000" y="146"/>
                </a:lnTo>
                <a:close/>
              </a:path>
            </a:pathLst>
          </a:custGeom>
          <a:solidFill>
            <a:srgbClr val="FFFFFF">
              <a:alpha val="74902"/>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ctrTitle"/>
          </p:nvPr>
        </p:nvSpPr>
        <p:spPr>
          <a:xfrm>
            <a:off x="1524000" y="1122363"/>
            <a:ext cx="9144000" cy="2216149"/>
          </a:xfrm>
        </p:spPr>
        <p:txBody>
          <a:bodyPr anchor="b">
            <a:normAutofit/>
          </a:bodyPr>
          <a:lstStyle>
            <a:lvl1pPr algn="l">
              <a:defRPr sz="4400" b="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1524000" y="3602038"/>
            <a:ext cx="7745128"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p:cNvSpPr>
            <a:spLocks noGrp="1"/>
          </p:cNvSpPr>
          <p:nvPr>
            <p:ph type="ftr" sz="quarter" idx="11"/>
          </p:nvPr>
        </p:nvSpPr>
        <p:spPr/>
        <p:txBody>
          <a:bodyPr/>
          <a:lstStyle>
            <a:lvl1pPr>
              <a:defRPr b="0">
                <a:solidFill>
                  <a:srgbClr val="221E5B"/>
                </a:solidFill>
              </a:defRPr>
            </a:lvl1pPr>
          </a:lstStyle>
          <a:p>
            <a:r>
              <a:rPr lang="en-GB"/>
              <a:t>This footer is edited in &gt;Insert &gt; Header &amp; Footer</a:t>
            </a:r>
            <a:endParaRPr lang="en-GB" dirty="0"/>
          </a:p>
        </p:txBody>
      </p:sp>
      <p:sp>
        <p:nvSpPr>
          <p:cNvPr id="6" name="Slide Number Placeholder 5"/>
          <p:cNvSpPr>
            <a:spLocks noGrp="1"/>
          </p:cNvSpPr>
          <p:nvPr>
            <p:ph type="sldNum" sz="quarter" idx="12"/>
          </p:nvPr>
        </p:nvSpPr>
        <p:spPr/>
        <p:txBody>
          <a:bodyPr/>
          <a:lstStyle>
            <a:lvl1pPr>
              <a:defRPr b="1">
                <a:solidFill>
                  <a:srgbClr val="221E5B"/>
                </a:solidFill>
              </a:defRPr>
            </a:lvl1pPr>
          </a:lstStyle>
          <a:p>
            <a:r>
              <a:rPr lang="en-GB" b="0" dirty="0"/>
              <a:t>Slide </a:t>
            </a:r>
            <a:fld id="{5F4C8201-D8A8-417D-8A18-42E93E6C5D44}" type="slidenum">
              <a:rPr lang="en-GB" smtClean="0"/>
              <a:pPr/>
              <a:t>‹#›</a:t>
            </a:fld>
            <a:endParaRPr lang="en-GB" dirty="0"/>
          </a:p>
        </p:txBody>
      </p:sp>
      <p:sp>
        <p:nvSpPr>
          <p:cNvPr id="12" name="AutoShape 3"/>
          <p:cNvSpPr>
            <a:spLocks noChangeAspect="1" noChangeArrowheads="1" noTextEdit="1"/>
          </p:cNvSpPr>
          <p:nvPr userDrawn="1"/>
        </p:nvSpPr>
        <p:spPr bwMode="auto">
          <a:xfrm>
            <a:off x="-1722438" y="1263650"/>
            <a:ext cx="15081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04" name="Group 103"/>
          <p:cNvGrpSpPr/>
          <p:nvPr userDrawn="1"/>
        </p:nvGrpSpPr>
        <p:grpSpPr>
          <a:xfrm>
            <a:off x="9939338" y="366995"/>
            <a:ext cx="1414462" cy="1200150"/>
            <a:chOff x="-1995768" y="103889"/>
            <a:chExt cx="1414462" cy="1200150"/>
          </a:xfrm>
        </p:grpSpPr>
        <p:sp>
          <p:nvSpPr>
            <p:cNvPr id="62" name="Freeform 9"/>
            <p:cNvSpPr>
              <a:spLocks/>
            </p:cNvSpPr>
            <p:nvPr userDrawn="1"/>
          </p:nvSpPr>
          <p:spPr bwMode="auto">
            <a:xfrm>
              <a:off x="-836893" y="103889"/>
              <a:ext cx="61912" cy="90488"/>
            </a:xfrm>
            <a:custGeom>
              <a:avLst/>
              <a:gdLst>
                <a:gd name="T0" fmla="*/ 0 w 22"/>
                <a:gd name="T1" fmla="*/ 11 h 32"/>
                <a:gd name="T2" fmla="*/ 11 w 22"/>
                <a:gd name="T3" fmla="*/ 0 h 32"/>
                <a:gd name="T4" fmla="*/ 22 w 22"/>
                <a:gd name="T5" fmla="*/ 11 h 32"/>
                <a:gd name="T6" fmla="*/ 22 w 22"/>
                <a:gd name="T7" fmla="*/ 21 h 32"/>
                <a:gd name="T8" fmla="*/ 11 w 22"/>
                <a:gd name="T9" fmla="*/ 32 h 32"/>
                <a:gd name="T10" fmla="*/ 0 w 22"/>
                <a:gd name="T11" fmla="*/ 21 h 32"/>
                <a:gd name="T12" fmla="*/ 0 w 22"/>
                <a:gd name="T13" fmla="*/ 11 h 32"/>
              </a:gdLst>
              <a:ahLst/>
              <a:cxnLst>
                <a:cxn ang="0">
                  <a:pos x="T0" y="T1"/>
                </a:cxn>
                <a:cxn ang="0">
                  <a:pos x="T2" y="T3"/>
                </a:cxn>
                <a:cxn ang="0">
                  <a:pos x="T4" y="T5"/>
                </a:cxn>
                <a:cxn ang="0">
                  <a:pos x="T6" y="T7"/>
                </a:cxn>
                <a:cxn ang="0">
                  <a:pos x="T8" y="T9"/>
                </a:cxn>
                <a:cxn ang="0">
                  <a:pos x="T10" y="T11"/>
                </a:cxn>
                <a:cxn ang="0">
                  <a:pos x="T12" y="T13"/>
                </a:cxn>
              </a:cxnLst>
              <a:rect l="0" t="0" r="r" b="b"/>
              <a:pathLst>
                <a:path w="22" h="32">
                  <a:moveTo>
                    <a:pt x="0" y="11"/>
                  </a:moveTo>
                  <a:cubicBezTo>
                    <a:pt x="0" y="5"/>
                    <a:pt x="5" y="0"/>
                    <a:pt x="11" y="0"/>
                  </a:cubicBezTo>
                  <a:cubicBezTo>
                    <a:pt x="17" y="0"/>
                    <a:pt x="22" y="5"/>
                    <a:pt x="22" y="11"/>
                  </a:cubicBezTo>
                  <a:cubicBezTo>
                    <a:pt x="22" y="21"/>
                    <a:pt x="22" y="21"/>
                    <a:pt x="22" y="21"/>
                  </a:cubicBezTo>
                  <a:cubicBezTo>
                    <a:pt x="22" y="27"/>
                    <a:pt x="17" y="32"/>
                    <a:pt x="11" y="32"/>
                  </a:cubicBezTo>
                  <a:cubicBezTo>
                    <a:pt x="5" y="32"/>
                    <a:pt x="0" y="27"/>
                    <a:pt x="0" y="21"/>
                  </a:cubicBezTo>
                  <a:lnTo>
                    <a:pt x="0"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0"/>
            <p:cNvSpPr>
              <a:spLocks/>
            </p:cNvSpPr>
            <p:nvPr userDrawn="1"/>
          </p:nvSpPr>
          <p:spPr bwMode="auto">
            <a:xfrm>
              <a:off x="-990881" y="197552"/>
              <a:ext cx="369887" cy="246063"/>
            </a:xfrm>
            <a:custGeom>
              <a:avLst/>
              <a:gdLst>
                <a:gd name="T0" fmla="*/ 130 w 132"/>
                <a:gd name="T1" fmla="*/ 9 h 88"/>
                <a:gd name="T2" fmla="*/ 116 w 132"/>
                <a:gd name="T3" fmla="*/ 2 h 88"/>
                <a:gd name="T4" fmla="*/ 66 w 132"/>
                <a:gd name="T5" fmla="*/ 18 h 88"/>
                <a:gd name="T6" fmla="*/ 16 w 132"/>
                <a:gd name="T7" fmla="*/ 2 h 88"/>
                <a:gd name="T8" fmla="*/ 2 w 132"/>
                <a:gd name="T9" fmla="*/ 9 h 88"/>
                <a:gd name="T10" fmla="*/ 9 w 132"/>
                <a:gd name="T11" fmla="*/ 23 h 88"/>
                <a:gd name="T12" fmla="*/ 48 w 132"/>
                <a:gd name="T13" fmla="*/ 36 h 88"/>
                <a:gd name="T14" fmla="*/ 24 w 132"/>
                <a:gd name="T15" fmla="*/ 69 h 88"/>
                <a:gd name="T16" fmla="*/ 26 w 132"/>
                <a:gd name="T17" fmla="*/ 84 h 88"/>
                <a:gd name="T18" fmla="*/ 42 w 132"/>
                <a:gd name="T19" fmla="*/ 82 h 88"/>
                <a:gd name="T20" fmla="*/ 66 w 132"/>
                <a:gd name="T21" fmla="*/ 48 h 88"/>
                <a:gd name="T22" fmla="*/ 90 w 132"/>
                <a:gd name="T23" fmla="*/ 82 h 88"/>
                <a:gd name="T24" fmla="*/ 105 w 132"/>
                <a:gd name="T25" fmla="*/ 84 h 88"/>
                <a:gd name="T26" fmla="*/ 108 w 132"/>
                <a:gd name="T27" fmla="*/ 69 h 88"/>
                <a:gd name="T28" fmla="*/ 84 w 132"/>
                <a:gd name="T29" fmla="*/ 36 h 88"/>
                <a:gd name="T30" fmla="*/ 123 w 132"/>
                <a:gd name="T31" fmla="*/ 23 h 88"/>
                <a:gd name="T32" fmla="*/ 130 w 132"/>
                <a:gd name="T33"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88">
                  <a:moveTo>
                    <a:pt x="130" y="9"/>
                  </a:moveTo>
                  <a:cubicBezTo>
                    <a:pt x="128" y="3"/>
                    <a:pt x="122" y="0"/>
                    <a:pt x="116" y="2"/>
                  </a:cubicBezTo>
                  <a:cubicBezTo>
                    <a:pt x="66" y="18"/>
                    <a:pt x="66" y="18"/>
                    <a:pt x="66" y="18"/>
                  </a:cubicBezTo>
                  <a:cubicBezTo>
                    <a:pt x="16" y="2"/>
                    <a:pt x="16" y="2"/>
                    <a:pt x="16" y="2"/>
                  </a:cubicBezTo>
                  <a:cubicBezTo>
                    <a:pt x="10" y="0"/>
                    <a:pt x="4" y="3"/>
                    <a:pt x="2" y="9"/>
                  </a:cubicBezTo>
                  <a:cubicBezTo>
                    <a:pt x="0" y="15"/>
                    <a:pt x="3" y="21"/>
                    <a:pt x="9" y="23"/>
                  </a:cubicBezTo>
                  <a:cubicBezTo>
                    <a:pt x="48" y="36"/>
                    <a:pt x="48" y="36"/>
                    <a:pt x="48" y="36"/>
                  </a:cubicBezTo>
                  <a:cubicBezTo>
                    <a:pt x="24" y="69"/>
                    <a:pt x="24" y="69"/>
                    <a:pt x="24" y="69"/>
                  </a:cubicBezTo>
                  <a:cubicBezTo>
                    <a:pt x="20" y="74"/>
                    <a:pt x="21" y="81"/>
                    <a:pt x="26" y="84"/>
                  </a:cubicBezTo>
                  <a:cubicBezTo>
                    <a:pt x="31" y="88"/>
                    <a:pt x="38" y="87"/>
                    <a:pt x="42" y="82"/>
                  </a:cubicBezTo>
                  <a:cubicBezTo>
                    <a:pt x="66" y="48"/>
                    <a:pt x="66" y="48"/>
                    <a:pt x="66" y="48"/>
                  </a:cubicBezTo>
                  <a:cubicBezTo>
                    <a:pt x="90" y="82"/>
                    <a:pt x="90" y="82"/>
                    <a:pt x="90" y="82"/>
                  </a:cubicBezTo>
                  <a:cubicBezTo>
                    <a:pt x="94" y="87"/>
                    <a:pt x="100" y="88"/>
                    <a:pt x="105" y="84"/>
                  </a:cubicBezTo>
                  <a:cubicBezTo>
                    <a:pt x="110" y="81"/>
                    <a:pt x="111" y="74"/>
                    <a:pt x="108" y="69"/>
                  </a:cubicBezTo>
                  <a:cubicBezTo>
                    <a:pt x="84" y="36"/>
                    <a:pt x="84" y="36"/>
                    <a:pt x="84" y="36"/>
                  </a:cubicBezTo>
                  <a:cubicBezTo>
                    <a:pt x="123" y="23"/>
                    <a:pt x="123" y="23"/>
                    <a:pt x="123" y="23"/>
                  </a:cubicBezTo>
                  <a:cubicBezTo>
                    <a:pt x="128" y="21"/>
                    <a:pt x="132" y="15"/>
                    <a:pt x="130"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1"/>
            <p:cNvSpPr>
              <a:spLocks/>
            </p:cNvSpPr>
            <p:nvPr userDrawn="1"/>
          </p:nvSpPr>
          <p:spPr bwMode="auto">
            <a:xfrm>
              <a:off x="-1140106" y="183264"/>
              <a:ext cx="47625" cy="69850"/>
            </a:xfrm>
            <a:custGeom>
              <a:avLst/>
              <a:gdLst>
                <a:gd name="T0" fmla="*/ 0 w 17"/>
                <a:gd name="T1" fmla="*/ 9 h 25"/>
                <a:gd name="T2" fmla="*/ 9 w 17"/>
                <a:gd name="T3" fmla="*/ 0 h 25"/>
                <a:gd name="T4" fmla="*/ 17 w 17"/>
                <a:gd name="T5" fmla="*/ 9 h 25"/>
                <a:gd name="T6" fmla="*/ 17 w 17"/>
                <a:gd name="T7" fmla="*/ 16 h 25"/>
                <a:gd name="T8" fmla="*/ 9 w 17"/>
                <a:gd name="T9" fmla="*/ 25 h 25"/>
                <a:gd name="T10" fmla="*/ 0 w 17"/>
                <a:gd name="T11" fmla="*/ 16 h 25"/>
                <a:gd name="T12" fmla="*/ 0 w 17"/>
                <a:gd name="T13" fmla="*/ 9 h 25"/>
              </a:gdLst>
              <a:ahLst/>
              <a:cxnLst>
                <a:cxn ang="0">
                  <a:pos x="T0" y="T1"/>
                </a:cxn>
                <a:cxn ang="0">
                  <a:pos x="T2" y="T3"/>
                </a:cxn>
                <a:cxn ang="0">
                  <a:pos x="T4" y="T5"/>
                </a:cxn>
                <a:cxn ang="0">
                  <a:pos x="T6" y="T7"/>
                </a:cxn>
                <a:cxn ang="0">
                  <a:pos x="T8" y="T9"/>
                </a:cxn>
                <a:cxn ang="0">
                  <a:pos x="T10" y="T11"/>
                </a:cxn>
                <a:cxn ang="0">
                  <a:pos x="T12" y="T13"/>
                </a:cxn>
              </a:cxnLst>
              <a:rect l="0" t="0" r="r" b="b"/>
              <a:pathLst>
                <a:path w="17" h="25">
                  <a:moveTo>
                    <a:pt x="0" y="9"/>
                  </a:moveTo>
                  <a:cubicBezTo>
                    <a:pt x="0" y="4"/>
                    <a:pt x="4" y="0"/>
                    <a:pt x="9" y="0"/>
                  </a:cubicBezTo>
                  <a:cubicBezTo>
                    <a:pt x="13" y="0"/>
                    <a:pt x="17" y="4"/>
                    <a:pt x="17" y="9"/>
                  </a:cubicBezTo>
                  <a:cubicBezTo>
                    <a:pt x="17" y="16"/>
                    <a:pt x="17" y="16"/>
                    <a:pt x="17" y="16"/>
                  </a:cubicBezTo>
                  <a:cubicBezTo>
                    <a:pt x="17" y="21"/>
                    <a:pt x="13" y="25"/>
                    <a:pt x="9" y="25"/>
                  </a:cubicBezTo>
                  <a:cubicBezTo>
                    <a:pt x="4" y="25"/>
                    <a:pt x="0" y="21"/>
                    <a:pt x="0" y="16"/>
                  </a:cubicBezTo>
                  <a:lnTo>
                    <a:pt x="0"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2"/>
            <p:cNvSpPr>
              <a:spLocks/>
            </p:cNvSpPr>
            <p:nvPr userDrawn="1"/>
          </p:nvSpPr>
          <p:spPr bwMode="auto">
            <a:xfrm>
              <a:off x="-1254406" y="256289"/>
              <a:ext cx="280987" cy="185738"/>
            </a:xfrm>
            <a:custGeom>
              <a:avLst/>
              <a:gdLst>
                <a:gd name="T0" fmla="*/ 99 w 100"/>
                <a:gd name="T1" fmla="*/ 6 h 66"/>
                <a:gd name="T2" fmla="*/ 88 w 100"/>
                <a:gd name="T3" fmla="*/ 1 h 66"/>
                <a:gd name="T4" fmla="*/ 50 w 100"/>
                <a:gd name="T5" fmla="*/ 14 h 66"/>
                <a:gd name="T6" fmla="*/ 12 w 100"/>
                <a:gd name="T7" fmla="*/ 1 h 66"/>
                <a:gd name="T8" fmla="*/ 1 w 100"/>
                <a:gd name="T9" fmla="*/ 6 h 66"/>
                <a:gd name="T10" fmla="*/ 6 w 100"/>
                <a:gd name="T11" fmla="*/ 17 h 66"/>
                <a:gd name="T12" fmla="*/ 36 w 100"/>
                <a:gd name="T13" fmla="*/ 27 h 66"/>
                <a:gd name="T14" fmla="*/ 18 w 100"/>
                <a:gd name="T15" fmla="*/ 52 h 66"/>
                <a:gd name="T16" fmla="*/ 20 w 100"/>
                <a:gd name="T17" fmla="*/ 64 h 66"/>
                <a:gd name="T18" fmla="*/ 31 w 100"/>
                <a:gd name="T19" fmla="*/ 62 h 66"/>
                <a:gd name="T20" fmla="*/ 50 w 100"/>
                <a:gd name="T21" fmla="*/ 36 h 66"/>
                <a:gd name="T22" fmla="*/ 68 w 100"/>
                <a:gd name="T23" fmla="*/ 62 h 66"/>
                <a:gd name="T24" fmla="*/ 80 w 100"/>
                <a:gd name="T25" fmla="*/ 64 h 66"/>
                <a:gd name="T26" fmla="*/ 82 w 100"/>
                <a:gd name="T27" fmla="*/ 52 h 66"/>
                <a:gd name="T28" fmla="*/ 63 w 100"/>
                <a:gd name="T29" fmla="*/ 27 h 66"/>
                <a:gd name="T30" fmla="*/ 93 w 100"/>
                <a:gd name="T31" fmla="*/ 17 h 66"/>
                <a:gd name="T32" fmla="*/ 99 w 100"/>
                <a:gd name="T3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66">
                  <a:moveTo>
                    <a:pt x="99" y="6"/>
                  </a:moveTo>
                  <a:cubicBezTo>
                    <a:pt x="97" y="2"/>
                    <a:pt x="92" y="0"/>
                    <a:pt x="88" y="1"/>
                  </a:cubicBezTo>
                  <a:cubicBezTo>
                    <a:pt x="50" y="14"/>
                    <a:pt x="50" y="14"/>
                    <a:pt x="50" y="14"/>
                  </a:cubicBezTo>
                  <a:cubicBezTo>
                    <a:pt x="12" y="1"/>
                    <a:pt x="12" y="1"/>
                    <a:pt x="12" y="1"/>
                  </a:cubicBezTo>
                  <a:cubicBezTo>
                    <a:pt x="7" y="0"/>
                    <a:pt x="2" y="2"/>
                    <a:pt x="1" y="6"/>
                  </a:cubicBezTo>
                  <a:cubicBezTo>
                    <a:pt x="0" y="11"/>
                    <a:pt x="2" y="15"/>
                    <a:pt x="6" y="17"/>
                  </a:cubicBezTo>
                  <a:cubicBezTo>
                    <a:pt x="36" y="27"/>
                    <a:pt x="36" y="27"/>
                    <a:pt x="36" y="27"/>
                  </a:cubicBezTo>
                  <a:cubicBezTo>
                    <a:pt x="18" y="52"/>
                    <a:pt x="18" y="52"/>
                    <a:pt x="18" y="52"/>
                  </a:cubicBezTo>
                  <a:cubicBezTo>
                    <a:pt x="15" y="56"/>
                    <a:pt x="16" y="61"/>
                    <a:pt x="20" y="64"/>
                  </a:cubicBezTo>
                  <a:cubicBezTo>
                    <a:pt x="23" y="66"/>
                    <a:pt x="29" y="66"/>
                    <a:pt x="31" y="62"/>
                  </a:cubicBezTo>
                  <a:cubicBezTo>
                    <a:pt x="50" y="36"/>
                    <a:pt x="50" y="36"/>
                    <a:pt x="50" y="36"/>
                  </a:cubicBezTo>
                  <a:cubicBezTo>
                    <a:pt x="68" y="62"/>
                    <a:pt x="68" y="62"/>
                    <a:pt x="68" y="62"/>
                  </a:cubicBezTo>
                  <a:cubicBezTo>
                    <a:pt x="71" y="66"/>
                    <a:pt x="76" y="66"/>
                    <a:pt x="80" y="64"/>
                  </a:cubicBezTo>
                  <a:cubicBezTo>
                    <a:pt x="84" y="61"/>
                    <a:pt x="84" y="56"/>
                    <a:pt x="82" y="52"/>
                  </a:cubicBezTo>
                  <a:cubicBezTo>
                    <a:pt x="63" y="27"/>
                    <a:pt x="63" y="27"/>
                    <a:pt x="63" y="27"/>
                  </a:cubicBezTo>
                  <a:cubicBezTo>
                    <a:pt x="93" y="17"/>
                    <a:pt x="93" y="17"/>
                    <a:pt x="93" y="17"/>
                  </a:cubicBezTo>
                  <a:cubicBezTo>
                    <a:pt x="98" y="15"/>
                    <a:pt x="100" y="11"/>
                    <a:pt x="99"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3"/>
            <p:cNvSpPr>
              <a:spLocks/>
            </p:cNvSpPr>
            <p:nvPr userDrawn="1"/>
          </p:nvSpPr>
          <p:spPr bwMode="auto">
            <a:xfrm>
              <a:off x="-1363943" y="249939"/>
              <a:ext cx="36512" cy="47625"/>
            </a:xfrm>
            <a:custGeom>
              <a:avLst/>
              <a:gdLst>
                <a:gd name="T0" fmla="*/ 0 w 13"/>
                <a:gd name="T1" fmla="*/ 6 h 17"/>
                <a:gd name="T2" fmla="*/ 7 w 13"/>
                <a:gd name="T3" fmla="*/ 0 h 17"/>
                <a:gd name="T4" fmla="*/ 13 w 13"/>
                <a:gd name="T5" fmla="*/ 6 h 17"/>
                <a:gd name="T6" fmla="*/ 13 w 13"/>
                <a:gd name="T7" fmla="*/ 11 h 17"/>
                <a:gd name="T8" fmla="*/ 7 w 13"/>
                <a:gd name="T9" fmla="*/ 17 h 17"/>
                <a:gd name="T10" fmla="*/ 0 w 13"/>
                <a:gd name="T11" fmla="*/ 11 h 17"/>
                <a:gd name="T12" fmla="*/ 0 w 13"/>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13" h="17">
                  <a:moveTo>
                    <a:pt x="0" y="6"/>
                  </a:moveTo>
                  <a:cubicBezTo>
                    <a:pt x="0" y="2"/>
                    <a:pt x="3" y="0"/>
                    <a:pt x="7" y="0"/>
                  </a:cubicBezTo>
                  <a:cubicBezTo>
                    <a:pt x="10" y="0"/>
                    <a:pt x="13" y="2"/>
                    <a:pt x="13" y="6"/>
                  </a:cubicBezTo>
                  <a:cubicBezTo>
                    <a:pt x="13" y="11"/>
                    <a:pt x="13" y="11"/>
                    <a:pt x="13" y="11"/>
                  </a:cubicBezTo>
                  <a:cubicBezTo>
                    <a:pt x="13" y="15"/>
                    <a:pt x="10" y="17"/>
                    <a:pt x="7" y="17"/>
                  </a:cubicBezTo>
                  <a:cubicBezTo>
                    <a:pt x="3" y="17"/>
                    <a:pt x="0" y="15"/>
                    <a:pt x="0" y="11"/>
                  </a:cubicBez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4"/>
            <p:cNvSpPr>
              <a:spLocks/>
            </p:cNvSpPr>
            <p:nvPr userDrawn="1"/>
          </p:nvSpPr>
          <p:spPr bwMode="auto">
            <a:xfrm>
              <a:off x="-1451256" y="300739"/>
              <a:ext cx="211137" cy="141288"/>
            </a:xfrm>
            <a:custGeom>
              <a:avLst/>
              <a:gdLst>
                <a:gd name="T0" fmla="*/ 74 w 75"/>
                <a:gd name="T1" fmla="*/ 5 h 50"/>
                <a:gd name="T2" fmla="*/ 66 w 75"/>
                <a:gd name="T3" fmla="*/ 1 h 50"/>
                <a:gd name="T4" fmla="*/ 38 w 75"/>
                <a:gd name="T5" fmla="*/ 11 h 50"/>
                <a:gd name="T6" fmla="*/ 9 w 75"/>
                <a:gd name="T7" fmla="*/ 1 h 50"/>
                <a:gd name="T8" fmla="*/ 1 w 75"/>
                <a:gd name="T9" fmla="*/ 5 h 50"/>
                <a:gd name="T10" fmla="*/ 5 w 75"/>
                <a:gd name="T11" fmla="*/ 13 h 50"/>
                <a:gd name="T12" fmla="*/ 28 w 75"/>
                <a:gd name="T13" fmla="*/ 20 h 50"/>
                <a:gd name="T14" fmla="*/ 14 w 75"/>
                <a:gd name="T15" fmla="*/ 39 h 50"/>
                <a:gd name="T16" fmla="*/ 15 w 75"/>
                <a:gd name="T17" fmla="*/ 48 h 50"/>
                <a:gd name="T18" fmla="*/ 24 w 75"/>
                <a:gd name="T19" fmla="*/ 47 h 50"/>
                <a:gd name="T20" fmla="*/ 38 w 75"/>
                <a:gd name="T21" fmla="*/ 28 h 50"/>
                <a:gd name="T22" fmla="*/ 51 w 75"/>
                <a:gd name="T23" fmla="*/ 47 h 50"/>
                <a:gd name="T24" fmla="*/ 60 w 75"/>
                <a:gd name="T25" fmla="*/ 48 h 50"/>
                <a:gd name="T26" fmla="*/ 62 w 75"/>
                <a:gd name="T27" fmla="*/ 39 h 50"/>
                <a:gd name="T28" fmla="*/ 48 w 75"/>
                <a:gd name="T29" fmla="*/ 20 h 50"/>
                <a:gd name="T30" fmla="*/ 70 w 75"/>
                <a:gd name="T31" fmla="*/ 13 h 50"/>
                <a:gd name="T32" fmla="*/ 74 w 75"/>
                <a:gd name="T33"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50">
                  <a:moveTo>
                    <a:pt x="74" y="5"/>
                  </a:moveTo>
                  <a:cubicBezTo>
                    <a:pt x="73" y="2"/>
                    <a:pt x="69" y="0"/>
                    <a:pt x="66" y="1"/>
                  </a:cubicBezTo>
                  <a:cubicBezTo>
                    <a:pt x="38" y="11"/>
                    <a:pt x="38" y="11"/>
                    <a:pt x="38" y="11"/>
                  </a:cubicBezTo>
                  <a:cubicBezTo>
                    <a:pt x="9" y="1"/>
                    <a:pt x="9" y="1"/>
                    <a:pt x="9" y="1"/>
                  </a:cubicBezTo>
                  <a:cubicBezTo>
                    <a:pt x="6" y="0"/>
                    <a:pt x="2" y="2"/>
                    <a:pt x="1" y="5"/>
                  </a:cubicBezTo>
                  <a:cubicBezTo>
                    <a:pt x="0" y="9"/>
                    <a:pt x="2" y="12"/>
                    <a:pt x="5" y="13"/>
                  </a:cubicBezTo>
                  <a:cubicBezTo>
                    <a:pt x="28" y="20"/>
                    <a:pt x="28" y="20"/>
                    <a:pt x="28" y="20"/>
                  </a:cubicBezTo>
                  <a:cubicBezTo>
                    <a:pt x="14" y="39"/>
                    <a:pt x="14" y="39"/>
                    <a:pt x="14" y="39"/>
                  </a:cubicBezTo>
                  <a:cubicBezTo>
                    <a:pt x="12" y="42"/>
                    <a:pt x="12" y="46"/>
                    <a:pt x="15" y="48"/>
                  </a:cubicBezTo>
                  <a:cubicBezTo>
                    <a:pt x="18" y="50"/>
                    <a:pt x="22" y="49"/>
                    <a:pt x="24" y="47"/>
                  </a:cubicBezTo>
                  <a:cubicBezTo>
                    <a:pt x="38" y="28"/>
                    <a:pt x="38" y="28"/>
                    <a:pt x="38" y="28"/>
                  </a:cubicBezTo>
                  <a:cubicBezTo>
                    <a:pt x="51" y="47"/>
                    <a:pt x="51" y="47"/>
                    <a:pt x="51" y="47"/>
                  </a:cubicBezTo>
                  <a:cubicBezTo>
                    <a:pt x="53" y="49"/>
                    <a:pt x="57" y="50"/>
                    <a:pt x="60" y="48"/>
                  </a:cubicBezTo>
                  <a:cubicBezTo>
                    <a:pt x="63" y="46"/>
                    <a:pt x="64" y="42"/>
                    <a:pt x="62" y="39"/>
                  </a:cubicBezTo>
                  <a:cubicBezTo>
                    <a:pt x="48" y="20"/>
                    <a:pt x="48" y="20"/>
                    <a:pt x="48" y="20"/>
                  </a:cubicBezTo>
                  <a:cubicBezTo>
                    <a:pt x="70" y="13"/>
                    <a:pt x="70" y="13"/>
                    <a:pt x="70" y="13"/>
                  </a:cubicBezTo>
                  <a:cubicBezTo>
                    <a:pt x="73" y="12"/>
                    <a:pt x="75" y="9"/>
                    <a:pt x="74"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15"/>
            <p:cNvSpPr>
              <a:spLocks noEditPoints="1"/>
            </p:cNvSpPr>
            <p:nvPr userDrawn="1"/>
          </p:nvSpPr>
          <p:spPr bwMode="auto">
            <a:xfrm>
              <a:off x="-1995768" y="421389"/>
              <a:ext cx="325437" cy="396875"/>
            </a:xfrm>
            <a:custGeom>
              <a:avLst/>
              <a:gdLst>
                <a:gd name="T0" fmla="*/ 58 w 116"/>
                <a:gd name="T1" fmla="*/ 141 h 141"/>
                <a:gd name="T2" fmla="*/ 0 w 116"/>
                <a:gd name="T3" fmla="*/ 71 h 141"/>
                <a:gd name="T4" fmla="*/ 58 w 116"/>
                <a:gd name="T5" fmla="*/ 0 h 141"/>
                <a:gd name="T6" fmla="*/ 116 w 116"/>
                <a:gd name="T7" fmla="*/ 71 h 141"/>
                <a:gd name="T8" fmla="*/ 58 w 116"/>
                <a:gd name="T9" fmla="*/ 141 h 141"/>
                <a:gd name="T10" fmla="*/ 59 w 116"/>
                <a:gd name="T11" fmla="*/ 16 h 141"/>
                <a:gd name="T12" fmla="*/ 22 w 116"/>
                <a:gd name="T13" fmla="*/ 71 h 141"/>
                <a:gd name="T14" fmla="*/ 32 w 116"/>
                <a:gd name="T15" fmla="*/ 113 h 141"/>
                <a:gd name="T16" fmla="*/ 58 w 116"/>
                <a:gd name="T17" fmla="*/ 125 h 141"/>
                <a:gd name="T18" fmla="*/ 94 w 116"/>
                <a:gd name="T19" fmla="*/ 71 h 141"/>
                <a:gd name="T20" fmla="*/ 59 w 116"/>
                <a:gd name="T21" fmla="*/ 1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41">
                  <a:moveTo>
                    <a:pt x="58" y="141"/>
                  </a:moveTo>
                  <a:cubicBezTo>
                    <a:pt x="20" y="141"/>
                    <a:pt x="0" y="116"/>
                    <a:pt x="0" y="71"/>
                  </a:cubicBezTo>
                  <a:cubicBezTo>
                    <a:pt x="0" y="25"/>
                    <a:pt x="21" y="0"/>
                    <a:pt x="58" y="0"/>
                  </a:cubicBezTo>
                  <a:cubicBezTo>
                    <a:pt x="96" y="0"/>
                    <a:pt x="116" y="25"/>
                    <a:pt x="116" y="71"/>
                  </a:cubicBezTo>
                  <a:cubicBezTo>
                    <a:pt x="116" y="116"/>
                    <a:pt x="96" y="141"/>
                    <a:pt x="58" y="141"/>
                  </a:cubicBezTo>
                  <a:moveTo>
                    <a:pt x="59" y="16"/>
                  </a:moveTo>
                  <a:cubicBezTo>
                    <a:pt x="35" y="16"/>
                    <a:pt x="22" y="35"/>
                    <a:pt x="22" y="71"/>
                  </a:cubicBezTo>
                  <a:cubicBezTo>
                    <a:pt x="22" y="88"/>
                    <a:pt x="26" y="104"/>
                    <a:pt x="32" y="113"/>
                  </a:cubicBezTo>
                  <a:cubicBezTo>
                    <a:pt x="37" y="121"/>
                    <a:pt x="47" y="125"/>
                    <a:pt x="58" y="125"/>
                  </a:cubicBezTo>
                  <a:cubicBezTo>
                    <a:pt x="82" y="125"/>
                    <a:pt x="94" y="107"/>
                    <a:pt x="94" y="71"/>
                  </a:cubicBezTo>
                  <a:cubicBezTo>
                    <a:pt x="94" y="34"/>
                    <a:pt x="82" y="16"/>
                    <a:pt x="59" y="1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16"/>
            <p:cNvSpPr>
              <a:spLocks/>
            </p:cNvSpPr>
            <p:nvPr userDrawn="1"/>
          </p:nvSpPr>
          <p:spPr bwMode="auto">
            <a:xfrm>
              <a:off x="-1648106" y="394402"/>
              <a:ext cx="193675" cy="417513"/>
            </a:xfrm>
            <a:custGeom>
              <a:avLst/>
              <a:gdLst>
                <a:gd name="T0" fmla="*/ 67 w 69"/>
                <a:gd name="T1" fmla="*/ 16 h 149"/>
                <a:gd name="T2" fmla="*/ 50 w 69"/>
                <a:gd name="T3" fmla="*/ 15 h 149"/>
                <a:gd name="T4" fmla="*/ 37 w 69"/>
                <a:gd name="T5" fmla="*/ 33 h 149"/>
                <a:gd name="T6" fmla="*/ 37 w 69"/>
                <a:gd name="T7" fmla="*/ 52 h 149"/>
                <a:gd name="T8" fmla="*/ 64 w 69"/>
                <a:gd name="T9" fmla="*/ 52 h 149"/>
                <a:gd name="T10" fmla="*/ 64 w 69"/>
                <a:gd name="T11" fmla="*/ 65 h 149"/>
                <a:gd name="T12" fmla="*/ 37 w 69"/>
                <a:gd name="T13" fmla="*/ 65 h 149"/>
                <a:gd name="T14" fmla="*/ 37 w 69"/>
                <a:gd name="T15" fmla="*/ 149 h 149"/>
                <a:gd name="T16" fmla="*/ 17 w 69"/>
                <a:gd name="T17" fmla="*/ 149 h 149"/>
                <a:gd name="T18" fmla="*/ 17 w 69"/>
                <a:gd name="T19" fmla="*/ 65 h 149"/>
                <a:gd name="T20" fmla="*/ 0 w 69"/>
                <a:gd name="T21" fmla="*/ 65 h 149"/>
                <a:gd name="T22" fmla="*/ 0 w 69"/>
                <a:gd name="T23" fmla="*/ 54 h 149"/>
                <a:gd name="T24" fmla="*/ 17 w 69"/>
                <a:gd name="T25" fmla="*/ 51 h 149"/>
                <a:gd name="T26" fmla="*/ 17 w 69"/>
                <a:gd name="T27" fmla="*/ 35 h 149"/>
                <a:gd name="T28" fmla="*/ 22 w 69"/>
                <a:gd name="T29" fmla="*/ 11 h 149"/>
                <a:gd name="T30" fmla="*/ 44 w 69"/>
                <a:gd name="T31" fmla="*/ 0 h 149"/>
                <a:gd name="T32" fmla="*/ 69 w 69"/>
                <a:gd name="T33" fmla="*/ 4 h 149"/>
                <a:gd name="T34" fmla="*/ 67 w 69"/>
                <a:gd name="T35" fmla="*/ 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49">
                  <a:moveTo>
                    <a:pt x="67" y="16"/>
                  </a:moveTo>
                  <a:cubicBezTo>
                    <a:pt x="65" y="16"/>
                    <a:pt x="59" y="15"/>
                    <a:pt x="50" y="15"/>
                  </a:cubicBezTo>
                  <a:cubicBezTo>
                    <a:pt x="40" y="15"/>
                    <a:pt x="37" y="19"/>
                    <a:pt x="37" y="33"/>
                  </a:cubicBezTo>
                  <a:cubicBezTo>
                    <a:pt x="37" y="52"/>
                    <a:pt x="37" y="52"/>
                    <a:pt x="37" y="52"/>
                  </a:cubicBezTo>
                  <a:cubicBezTo>
                    <a:pt x="64" y="52"/>
                    <a:pt x="64" y="52"/>
                    <a:pt x="64" y="52"/>
                  </a:cubicBezTo>
                  <a:cubicBezTo>
                    <a:pt x="64" y="65"/>
                    <a:pt x="64" y="65"/>
                    <a:pt x="64" y="65"/>
                  </a:cubicBezTo>
                  <a:cubicBezTo>
                    <a:pt x="37" y="65"/>
                    <a:pt x="37" y="65"/>
                    <a:pt x="37" y="65"/>
                  </a:cubicBezTo>
                  <a:cubicBezTo>
                    <a:pt x="37" y="149"/>
                    <a:pt x="37" y="149"/>
                    <a:pt x="37" y="149"/>
                  </a:cubicBezTo>
                  <a:cubicBezTo>
                    <a:pt x="17" y="149"/>
                    <a:pt x="17" y="149"/>
                    <a:pt x="17" y="149"/>
                  </a:cubicBezTo>
                  <a:cubicBezTo>
                    <a:pt x="17" y="65"/>
                    <a:pt x="17" y="65"/>
                    <a:pt x="17" y="65"/>
                  </a:cubicBezTo>
                  <a:cubicBezTo>
                    <a:pt x="0" y="65"/>
                    <a:pt x="0" y="65"/>
                    <a:pt x="0" y="65"/>
                  </a:cubicBezTo>
                  <a:cubicBezTo>
                    <a:pt x="0" y="54"/>
                    <a:pt x="0" y="54"/>
                    <a:pt x="0" y="54"/>
                  </a:cubicBezTo>
                  <a:cubicBezTo>
                    <a:pt x="17" y="51"/>
                    <a:pt x="17" y="51"/>
                    <a:pt x="17" y="51"/>
                  </a:cubicBezTo>
                  <a:cubicBezTo>
                    <a:pt x="17" y="35"/>
                    <a:pt x="17" y="35"/>
                    <a:pt x="17" y="35"/>
                  </a:cubicBezTo>
                  <a:cubicBezTo>
                    <a:pt x="17" y="21"/>
                    <a:pt x="18" y="16"/>
                    <a:pt x="22" y="11"/>
                  </a:cubicBezTo>
                  <a:cubicBezTo>
                    <a:pt x="27" y="4"/>
                    <a:pt x="34" y="0"/>
                    <a:pt x="44" y="0"/>
                  </a:cubicBezTo>
                  <a:cubicBezTo>
                    <a:pt x="54" y="0"/>
                    <a:pt x="66" y="3"/>
                    <a:pt x="69" y="4"/>
                  </a:cubicBezTo>
                  <a:lnTo>
                    <a:pt x="67" y="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17"/>
            <p:cNvSpPr>
              <a:spLocks/>
            </p:cNvSpPr>
            <p:nvPr userDrawn="1"/>
          </p:nvSpPr>
          <p:spPr bwMode="auto">
            <a:xfrm>
              <a:off x="-1456018" y="534102"/>
              <a:ext cx="190500" cy="284163"/>
            </a:xfrm>
            <a:custGeom>
              <a:avLst/>
              <a:gdLst>
                <a:gd name="T0" fmla="*/ 31 w 68"/>
                <a:gd name="T1" fmla="*/ 101 h 101"/>
                <a:gd name="T2" fmla="*/ 0 w 68"/>
                <a:gd name="T3" fmla="*/ 96 h 101"/>
                <a:gd name="T4" fmla="*/ 3 w 68"/>
                <a:gd name="T5" fmla="*/ 83 h 101"/>
                <a:gd name="T6" fmla="*/ 27 w 68"/>
                <a:gd name="T7" fmla="*/ 86 h 101"/>
                <a:gd name="T8" fmla="*/ 48 w 68"/>
                <a:gd name="T9" fmla="*/ 72 h 101"/>
                <a:gd name="T10" fmla="*/ 31 w 68"/>
                <a:gd name="T11" fmla="*/ 57 h 101"/>
                <a:gd name="T12" fmla="*/ 1 w 68"/>
                <a:gd name="T13" fmla="*/ 29 h 101"/>
                <a:gd name="T14" fmla="*/ 35 w 68"/>
                <a:gd name="T15" fmla="*/ 0 h 101"/>
                <a:gd name="T16" fmla="*/ 63 w 68"/>
                <a:gd name="T17" fmla="*/ 5 h 101"/>
                <a:gd name="T18" fmla="*/ 60 w 68"/>
                <a:gd name="T19" fmla="*/ 17 h 101"/>
                <a:gd name="T20" fmla="*/ 37 w 68"/>
                <a:gd name="T21" fmla="*/ 14 h 101"/>
                <a:gd name="T22" fmla="*/ 21 w 68"/>
                <a:gd name="T23" fmla="*/ 27 h 101"/>
                <a:gd name="T24" fmla="*/ 68 w 68"/>
                <a:gd name="T25" fmla="*/ 69 h 101"/>
                <a:gd name="T26" fmla="*/ 31 w 68"/>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01">
                  <a:moveTo>
                    <a:pt x="31" y="101"/>
                  </a:moveTo>
                  <a:cubicBezTo>
                    <a:pt x="21" y="101"/>
                    <a:pt x="12" y="99"/>
                    <a:pt x="0" y="96"/>
                  </a:cubicBezTo>
                  <a:cubicBezTo>
                    <a:pt x="3" y="83"/>
                    <a:pt x="3" y="83"/>
                    <a:pt x="3" y="83"/>
                  </a:cubicBezTo>
                  <a:cubicBezTo>
                    <a:pt x="13" y="85"/>
                    <a:pt x="20" y="86"/>
                    <a:pt x="27" y="86"/>
                  </a:cubicBezTo>
                  <a:cubicBezTo>
                    <a:pt x="41" y="86"/>
                    <a:pt x="48" y="81"/>
                    <a:pt x="48" y="72"/>
                  </a:cubicBezTo>
                  <a:cubicBezTo>
                    <a:pt x="48" y="64"/>
                    <a:pt x="45" y="61"/>
                    <a:pt x="31" y="57"/>
                  </a:cubicBezTo>
                  <a:cubicBezTo>
                    <a:pt x="14" y="52"/>
                    <a:pt x="1" y="47"/>
                    <a:pt x="1" y="29"/>
                  </a:cubicBezTo>
                  <a:cubicBezTo>
                    <a:pt x="1" y="10"/>
                    <a:pt x="14" y="0"/>
                    <a:pt x="35" y="0"/>
                  </a:cubicBezTo>
                  <a:cubicBezTo>
                    <a:pt x="43" y="0"/>
                    <a:pt x="52" y="1"/>
                    <a:pt x="63" y="5"/>
                  </a:cubicBezTo>
                  <a:cubicBezTo>
                    <a:pt x="60" y="17"/>
                    <a:pt x="60" y="17"/>
                    <a:pt x="60" y="17"/>
                  </a:cubicBezTo>
                  <a:cubicBezTo>
                    <a:pt x="53" y="16"/>
                    <a:pt x="45" y="14"/>
                    <a:pt x="37" y="14"/>
                  </a:cubicBezTo>
                  <a:cubicBezTo>
                    <a:pt x="27" y="14"/>
                    <a:pt x="21" y="19"/>
                    <a:pt x="21" y="27"/>
                  </a:cubicBezTo>
                  <a:cubicBezTo>
                    <a:pt x="21" y="47"/>
                    <a:pt x="68" y="34"/>
                    <a:pt x="68" y="69"/>
                  </a:cubicBezTo>
                  <a:cubicBezTo>
                    <a:pt x="68" y="89"/>
                    <a:pt x="54" y="101"/>
                    <a:pt x="31" y="10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18"/>
            <p:cNvSpPr>
              <a:spLocks/>
            </p:cNvSpPr>
            <p:nvPr userDrawn="1"/>
          </p:nvSpPr>
          <p:spPr bwMode="auto">
            <a:xfrm>
              <a:off x="-1262343" y="464252"/>
              <a:ext cx="187325" cy="354013"/>
            </a:xfrm>
            <a:custGeom>
              <a:avLst/>
              <a:gdLst>
                <a:gd name="T0" fmla="*/ 39 w 67"/>
                <a:gd name="T1" fmla="*/ 126 h 126"/>
                <a:gd name="T2" fmla="*/ 19 w 67"/>
                <a:gd name="T3" fmla="*/ 115 h 126"/>
                <a:gd name="T4" fmla="*/ 17 w 67"/>
                <a:gd name="T5" fmla="*/ 93 h 126"/>
                <a:gd name="T6" fmla="*/ 17 w 67"/>
                <a:gd name="T7" fmla="*/ 40 h 126"/>
                <a:gd name="T8" fmla="*/ 0 w 67"/>
                <a:gd name="T9" fmla="*/ 40 h 126"/>
                <a:gd name="T10" fmla="*/ 0 w 67"/>
                <a:gd name="T11" fmla="*/ 29 h 126"/>
                <a:gd name="T12" fmla="*/ 17 w 67"/>
                <a:gd name="T13" fmla="*/ 27 h 126"/>
                <a:gd name="T14" fmla="*/ 17 w 67"/>
                <a:gd name="T15" fmla="*/ 0 h 126"/>
                <a:gd name="T16" fmla="*/ 37 w 67"/>
                <a:gd name="T17" fmla="*/ 0 h 126"/>
                <a:gd name="T18" fmla="*/ 37 w 67"/>
                <a:gd name="T19" fmla="*/ 27 h 126"/>
                <a:gd name="T20" fmla="*/ 63 w 67"/>
                <a:gd name="T21" fmla="*/ 27 h 126"/>
                <a:gd name="T22" fmla="*/ 63 w 67"/>
                <a:gd name="T23" fmla="*/ 40 h 126"/>
                <a:gd name="T24" fmla="*/ 37 w 67"/>
                <a:gd name="T25" fmla="*/ 40 h 126"/>
                <a:gd name="T26" fmla="*/ 37 w 67"/>
                <a:gd name="T27" fmla="*/ 87 h 126"/>
                <a:gd name="T28" fmla="*/ 38 w 67"/>
                <a:gd name="T29" fmla="*/ 106 h 126"/>
                <a:gd name="T30" fmla="*/ 47 w 67"/>
                <a:gd name="T31" fmla="*/ 110 h 126"/>
                <a:gd name="T32" fmla="*/ 64 w 67"/>
                <a:gd name="T33" fmla="*/ 107 h 126"/>
                <a:gd name="T34" fmla="*/ 67 w 67"/>
                <a:gd name="T35" fmla="*/ 120 h 126"/>
                <a:gd name="T36" fmla="*/ 39 w 67"/>
                <a:gd name="T3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126">
                  <a:moveTo>
                    <a:pt x="39" y="126"/>
                  </a:moveTo>
                  <a:cubicBezTo>
                    <a:pt x="30" y="126"/>
                    <a:pt x="23" y="122"/>
                    <a:pt x="19" y="115"/>
                  </a:cubicBezTo>
                  <a:cubicBezTo>
                    <a:pt x="17" y="111"/>
                    <a:pt x="17" y="106"/>
                    <a:pt x="17" y="93"/>
                  </a:cubicBezTo>
                  <a:cubicBezTo>
                    <a:pt x="17" y="40"/>
                    <a:pt x="17" y="40"/>
                    <a:pt x="17" y="40"/>
                  </a:cubicBezTo>
                  <a:cubicBezTo>
                    <a:pt x="0" y="40"/>
                    <a:pt x="0" y="40"/>
                    <a:pt x="0" y="40"/>
                  </a:cubicBezTo>
                  <a:cubicBezTo>
                    <a:pt x="0" y="29"/>
                    <a:pt x="0" y="29"/>
                    <a:pt x="0" y="29"/>
                  </a:cubicBezTo>
                  <a:cubicBezTo>
                    <a:pt x="17" y="27"/>
                    <a:pt x="17" y="27"/>
                    <a:pt x="17" y="27"/>
                  </a:cubicBezTo>
                  <a:cubicBezTo>
                    <a:pt x="17" y="0"/>
                    <a:pt x="17" y="0"/>
                    <a:pt x="17" y="0"/>
                  </a:cubicBezTo>
                  <a:cubicBezTo>
                    <a:pt x="37" y="0"/>
                    <a:pt x="37" y="0"/>
                    <a:pt x="37" y="0"/>
                  </a:cubicBezTo>
                  <a:cubicBezTo>
                    <a:pt x="37" y="27"/>
                    <a:pt x="37" y="27"/>
                    <a:pt x="37" y="27"/>
                  </a:cubicBezTo>
                  <a:cubicBezTo>
                    <a:pt x="63" y="27"/>
                    <a:pt x="63" y="27"/>
                    <a:pt x="63" y="27"/>
                  </a:cubicBezTo>
                  <a:cubicBezTo>
                    <a:pt x="63" y="40"/>
                    <a:pt x="63" y="40"/>
                    <a:pt x="63" y="40"/>
                  </a:cubicBezTo>
                  <a:cubicBezTo>
                    <a:pt x="37" y="40"/>
                    <a:pt x="37" y="40"/>
                    <a:pt x="37" y="40"/>
                  </a:cubicBezTo>
                  <a:cubicBezTo>
                    <a:pt x="37" y="87"/>
                    <a:pt x="37" y="87"/>
                    <a:pt x="37" y="87"/>
                  </a:cubicBezTo>
                  <a:cubicBezTo>
                    <a:pt x="37" y="104"/>
                    <a:pt x="37" y="104"/>
                    <a:pt x="38" y="106"/>
                  </a:cubicBezTo>
                  <a:cubicBezTo>
                    <a:pt x="40" y="109"/>
                    <a:pt x="43" y="110"/>
                    <a:pt x="47" y="110"/>
                  </a:cubicBezTo>
                  <a:cubicBezTo>
                    <a:pt x="52" y="110"/>
                    <a:pt x="56" y="109"/>
                    <a:pt x="64" y="107"/>
                  </a:cubicBezTo>
                  <a:cubicBezTo>
                    <a:pt x="67" y="120"/>
                    <a:pt x="67" y="120"/>
                    <a:pt x="67" y="120"/>
                  </a:cubicBezTo>
                  <a:cubicBezTo>
                    <a:pt x="55" y="124"/>
                    <a:pt x="47" y="126"/>
                    <a:pt x="39" y="1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9"/>
            <p:cNvSpPr>
              <a:spLocks noEditPoints="1"/>
            </p:cNvSpPr>
            <p:nvPr userDrawn="1"/>
          </p:nvSpPr>
          <p:spPr bwMode="auto">
            <a:xfrm>
              <a:off x="-1071843" y="530927"/>
              <a:ext cx="230187" cy="287338"/>
            </a:xfrm>
            <a:custGeom>
              <a:avLst/>
              <a:gdLst>
                <a:gd name="T0" fmla="*/ 21 w 82"/>
                <a:gd name="T1" fmla="*/ 54 h 102"/>
                <a:gd name="T2" fmla="*/ 21 w 82"/>
                <a:gd name="T3" fmla="*/ 57 h 102"/>
                <a:gd name="T4" fmla="*/ 45 w 82"/>
                <a:gd name="T5" fmla="*/ 85 h 102"/>
                <a:gd name="T6" fmla="*/ 77 w 82"/>
                <a:gd name="T7" fmla="*/ 79 h 102"/>
                <a:gd name="T8" fmla="*/ 81 w 82"/>
                <a:gd name="T9" fmla="*/ 90 h 102"/>
                <a:gd name="T10" fmla="*/ 39 w 82"/>
                <a:gd name="T11" fmla="*/ 102 h 102"/>
                <a:gd name="T12" fmla="*/ 0 w 82"/>
                <a:gd name="T13" fmla="*/ 54 h 102"/>
                <a:gd name="T14" fmla="*/ 43 w 82"/>
                <a:gd name="T15" fmla="*/ 0 h 102"/>
                <a:gd name="T16" fmla="*/ 82 w 82"/>
                <a:gd name="T17" fmla="*/ 49 h 102"/>
                <a:gd name="T18" fmla="*/ 82 w 82"/>
                <a:gd name="T19" fmla="*/ 54 h 102"/>
                <a:gd name="T20" fmla="*/ 21 w 82"/>
                <a:gd name="T21" fmla="*/ 54 h 102"/>
                <a:gd name="T22" fmla="*/ 44 w 82"/>
                <a:gd name="T23" fmla="*/ 14 h 102"/>
                <a:gd name="T24" fmla="*/ 22 w 82"/>
                <a:gd name="T25" fmla="*/ 42 h 102"/>
                <a:gd name="T26" fmla="*/ 63 w 82"/>
                <a:gd name="T27" fmla="*/ 40 h 102"/>
                <a:gd name="T28" fmla="*/ 44 w 82"/>
                <a:gd name="T2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102">
                  <a:moveTo>
                    <a:pt x="21" y="54"/>
                  </a:moveTo>
                  <a:cubicBezTo>
                    <a:pt x="21" y="57"/>
                    <a:pt x="21" y="57"/>
                    <a:pt x="21" y="57"/>
                  </a:cubicBezTo>
                  <a:cubicBezTo>
                    <a:pt x="21" y="76"/>
                    <a:pt x="29" y="85"/>
                    <a:pt x="45" y="85"/>
                  </a:cubicBezTo>
                  <a:cubicBezTo>
                    <a:pt x="53" y="85"/>
                    <a:pt x="61" y="84"/>
                    <a:pt x="77" y="79"/>
                  </a:cubicBezTo>
                  <a:cubicBezTo>
                    <a:pt x="81" y="90"/>
                    <a:pt x="81" y="90"/>
                    <a:pt x="81" y="90"/>
                  </a:cubicBezTo>
                  <a:cubicBezTo>
                    <a:pt x="61" y="99"/>
                    <a:pt x="51" y="102"/>
                    <a:pt x="39" y="102"/>
                  </a:cubicBezTo>
                  <a:cubicBezTo>
                    <a:pt x="15" y="102"/>
                    <a:pt x="0" y="84"/>
                    <a:pt x="0" y="54"/>
                  </a:cubicBezTo>
                  <a:cubicBezTo>
                    <a:pt x="0" y="22"/>
                    <a:pt x="16" y="0"/>
                    <a:pt x="43" y="0"/>
                  </a:cubicBezTo>
                  <a:cubicBezTo>
                    <a:pt x="69" y="0"/>
                    <a:pt x="82" y="16"/>
                    <a:pt x="82" y="49"/>
                  </a:cubicBezTo>
                  <a:cubicBezTo>
                    <a:pt x="82" y="54"/>
                    <a:pt x="82" y="54"/>
                    <a:pt x="82" y="54"/>
                  </a:cubicBezTo>
                  <a:lnTo>
                    <a:pt x="21" y="54"/>
                  </a:lnTo>
                  <a:close/>
                  <a:moveTo>
                    <a:pt x="44" y="14"/>
                  </a:moveTo>
                  <a:cubicBezTo>
                    <a:pt x="31" y="14"/>
                    <a:pt x="24" y="24"/>
                    <a:pt x="22" y="42"/>
                  </a:cubicBezTo>
                  <a:cubicBezTo>
                    <a:pt x="63" y="40"/>
                    <a:pt x="63" y="40"/>
                    <a:pt x="63" y="40"/>
                  </a:cubicBezTo>
                  <a:cubicBezTo>
                    <a:pt x="63" y="23"/>
                    <a:pt x="57" y="14"/>
                    <a:pt x="44"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0"/>
            <p:cNvSpPr>
              <a:spLocks noEditPoints="1"/>
            </p:cNvSpPr>
            <p:nvPr userDrawn="1"/>
          </p:nvSpPr>
          <p:spPr bwMode="auto">
            <a:xfrm>
              <a:off x="-816256" y="402339"/>
              <a:ext cx="234950" cy="415925"/>
            </a:xfrm>
            <a:custGeom>
              <a:avLst/>
              <a:gdLst>
                <a:gd name="T0" fmla="*/ 65 w 84"/>
                <a:gd name="T1" fmla="*/ 146 h 148"/>
                <a:gd name="T2" fmla="*/ 65 w 84"/>
                <a:gd name="T3" fmla="*/ 137 h 148"/>
                <a:gd name="T4" fmla="*/ 33 w 84"/>
                <a:gd name="T5" fmla="*/ 148 h 148"/>
                <a:gd name="T6" fmla="*/ 0 w 84"/>
                <a:gd name="T7" fmla="*/ 97 h 148"/>
                <a:gd name="T8" fmla="*/ 35 w 84"/>
                <a:gd name="T9" fmla="*/ 46 h 148"/>
                <a:gd name="T10" fmla="*/ 64 w 84"/>
                <a:gd name="T11" fmla="*/ 57 h 148"/>
                <a:gd name="T12" fmla="*/ 64 w 84"/>
                <a:gd name="T13" fmla="*/ 0 h 148"/>
                <a:gd name="T14" fmla="*/ 84 w 84"/>
                <a:gd name="T15" fmla="*/ 0 h 148"/>
                <a:gd name="T16" fmla="*/ 84 w 84"/>
                <a:gd name="T17" fmla="*/ 146 h 148"/>
                <a:gd name="T18" fmla="*/ 65 w 84"/>
                <a:gd name="T19" fmla="*/ 146 h 148"/>
                <a:gd name="T20" fmla="*/ 64 w 84"/>
                <a:gd name="T21" fmla="*/ 69 h 148"/>
                <a:gd name="T22" fmla="*/ 42 w 84"/>
                <a:gd name="T23" fmla="*/ 64 h 148"/>
                <a:gd name="T24" fmla="*/ 21 w 84"/>
                <a:gd name="T25" fmla="*/ 97 h 148"/>
                <a:gd name="T26" fmla="*/ 41 w 84"/>
                <a:gd name="T27" fmla="*/ 131 h 148"/>
                <a:gd name="T28" fmla="*/ 64 w 84"/>
                <a:gd name="T29" fmla="*/ 125 h 148"/>
                <a:gd name="T30" fmla="*/ 64 w 84"/>
                <a:gd name="T31" fmla="*/ 6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148">
                  <a:moveTo>
                    <a:pt x="65" y="146"/>
                  </a:moveTo>
                  <a:cubicBezTo>
                    <a:pt x="65" y="137"/>
                    <a:pt x="65" y="137"/>
                    <a:pt x="65" y="137"/>
                  </a:cubicBezTo>
                  <a:cubicBezTo>
                    <a:pt x="54" y="143"/>
                    <a:pt x="43" y="148"/>
                    <a:pt x="33" y="148"/>
                  </a:cubicBezTo>
                  <a:cubicBezTo>
                    <a:pt x="12" y="148"/>
                    <a:pt x="0" y="129"/>
                    <a:pt x="0" y="97"/>
                  </a:cubicBezTo>
                  <a:cubicBezTo>
                    <a:pt x="0" y="66"/>
                    <a:pt x="14" y="46"/>
                    <a:pt x="35" y="46"/>
                  </a:cubicBezTo>
                  <a:cubicBezTo>
                    <a:pt x="46" y="46"/>
                    <a:pt x="55" y="52"/>
                    <a:pt x="64" y="57"/>
                  </a:cubicBezTo>
                  <a:cubicBezTo>
                    <a:pt x="64" y="0"/>
                    <a:pt x="64" y="0"/>
                    <a:pt x="64" y="0"/>
                  </a:cubicBezTo>
                  <a:cubicBezTo>
                    <a:pt x="84" y="0"/>
                    <a:pt x="84" y="0"/>
                    <a:pt x="84" y="0"/>
                  </a:cubicBezTo>
                  <a:cubicBezTo>
                    <a:pt x="84" y="146"/>
                    <a:pt x="84" y="146"/>
                    <a:pt x="84" y="146"/>
                  </a:cubicBezTo>
                  <a:lnTo>
                    <a:pt x="65" y="146"/>
                  </a:lnTo>
                  <a:close/>
                  <a:moveTo>
                    <a:pt x="64" y="69"/>
                  </a:moveTo>
                  <a:cubicBezTo>
                    <a:pt x="52" y="65"/>
                    <a:pt x="48" y="64"/>
                    <a:pt x="42" y="64"/>
                  </a:cubicBezTo>
                  <a:cubicBezTo>
                    <a:pt x="28" y="64"/>
                    <a:pt x="21" y="75"/>
                    <a:pt x="21" y="97"/>
                  </a:cubicBezTo>
                  <a:cubicBezTo>
                    <a:pt x="21" y="120"/>
                    <a:pt x="28" y="131"/>
                    <a:pt x="41" y="131"/>
                  </a:cubicBezTo>
                  <a:cubicBezTo>
                    <a:pt x="47" y="131"/>
                    <a:pt x="52" y="129"/>
                    <a:pt x="64" y="125"/>
                  </a:cubicBezTo>
                  <a:lnTo>
                    <a:pt x="64" y="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1"/>
            <p:cNvSpPr>
              <a:spLocks/>
            </p:cNvSpPr>
            <p:nvPr userDrawn="1"/>
          </p:nvSpPr>
          <p:spPr bwMode="auto">
            <a:xfrm>
              <a:off x="-1973543" y="950027"/>
              <a:ext cx="46037" cy="98425"/>
            </a:xfrm>
            <a:custGeom>
              <a:avLst/>
              <a:gdLst>
                <a:gd name="T0" fmla="*/ 15 w 16"/>
                <a:gd name="T1" fmla="*/ 5 h 35"/>
                <a:gd name="T2" fmla="*/ 6 w 16"/>
                <a:gd name="T3" fmla="*/ 7 h 35"/>
                <a:gd name="T4" fmla="*/ 6 w 16"/>
                <a:gd name="T5" fmla="*/ 35 h 35"/>
                <a:gd name="T6" fmla="*/ 0 w 16"/>
                <a:gd name="T7" fmla="*/ 35 h 35"/>
                <a:gd name="T8" fmla="*/ 0 w 16"/>
                <a:gd name="T9" fmla="*/ 0 h 35"/>
                <a:gd name="T10" fmla="*/ 5 w 16"/>
                <a:gd name="T11" fmla="*/ 0 h 35"/>
                <a:gd name="T12" fmla="*/ 5 w 16"/>
                <a:gd name="T13" fmla="*/ 3 h 35"/>
                <a:gd name="T14" fmla="*/ 15 w 16"/>
                <a:gd name="T15" fmla="*/ 0 h 35"/>
                <a:gd name="T16" fmla="*/ 16 w 16"/>
                <a:gd name="T17" fmla="*/ 0 h 35"/>
                <a:gd name="T18" fmla="*/ 16 w 16"/>
                <a:gd name="T19" fmla="*/ 5 h 35"/>
                <a:gd name="T20" fmla="*/ 15 w 16"/>
                <a:gd name="T21"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5">
                  <a:moveTo>
                    <a:pt x="15" y="5"/>
                  </a:moveTo>
                  <a:cubicBezTo>
                    <a:pt x="12" y="5"/>
                    <a:pt x="9" y="5"/>
                    <a:pt x="6" y="7"/>
                  </a:cubicBezTo>
                  <a:cubicBezTo>
                    <a:pt x="6" y="35"/>
                    <a:pt x="6" y="35"/>
                    <a:pt x="6" y="35"/>
                  </a:cubicBezTo>
                  <a:cubicBezTo>
                    <a:pt x="0" y="35"/>
                    <a:pt x="0" y="35"/>
                    <a:pt x="0" y="35"/>
                  </a:cubicBezTo>
                  <a:cubicBezTo>
                    <a:pt x="0" y="0"/>
                    <a:pt x="0" y="0"/>
                    <a:pt x="0" y="0"/>
                  </a:cubicBezTo>
                  <a:cubicBezTo>
                    <a:pt x="5" y="0"/>
                    <a:pt x="5" y="0"/>
                    <a:pt x="5" y="0"/>
                  </a:cubicBezTo>
                  <a:cubicBezTo>
                    <a:pt x="5" y="3"/>
                    <a:pt x="5" y="3"/>
                    <a:pt x="5" y="3"/>
                  </a:cubicBezTo>
                  <a:cubicBezTo>
                    <a:pt x="9" y="1"/>
                    <a:pt x="11" y="0"/>
                    <a:pt x="15" y="0"/>
                  </a:cubicBezTo>
                  <a:cubicBezTo>
                    <a:pt x="15" y="0"/>
                    <a:pt x="16" y="0"/>
                    <a:pt x="16" y="0"/>
                  </a:cubicBezTo>
                  <a:cubicBezTo>
                    <a:pt x="16" y="5"/>
                    <a:pt x="16" y="5"/>
                    <a:pt x="16" y="5"/>
                  </a:cubicBezTo>
                  <a:cubicBezTo>
                    <a:pt x="15" y="5"/>
                    <a:pt x="15" y="5"/>
                    <a:pt x="1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22"/>
            <p:cNvSpPr>
              <a:spLocks noEditPoints="1"/>
            </p:cNvSpPr>
            <p:nvPr userDrawn="1"/>
          </p:nvSpPr>
          <p:spPr bwMode="auto">
            <a:xfrm>
              <a:off x="-1919568" y="946852"/>
              <a:ext cx="69850" cy="104775"/>
            </a:xfrm>
            <a:custGeom>
              <a:avLst/>
              <a:gdLst>
                <a:gd name="T0" fmla="*/ 20 w 25"/>
                <a:gd name="T1" fmla="*/ 36 h 37"/>
                <a:gd name="T2" fmla="*/ 20 w 25"/>
                <a:gd name="T3" fmla="*/ 33 h 37"/>
                <a:gd name="T4" fmla="*/ 9 w 25"/>
                <a:gd name="T5" fmla="*/ 37 h 37"/>
                <a:gd name="T6" fmla="*/ 0 w 25"/>
                <a:gd name="T7" fmla="*/ 26 h 37"/>
                <a:gd name="T8" fmla="*/ 7 w 25"/>
                <a:gd name="T9" fmla="*/ 16 h 37"/>
                <a:gd name="T10" fmla="*/ 20 w 25"/>
                <a:gd name="T11" fmla="*/ 15 h 37"/>
                <a:gd name="T12" fmla="*/ 20 w 25"/>
                <a:gd name="T13" fmla="*/ 14 h 37"/>
                <a:gd name="T14" fmla="*/ 13 w 25"/>
                <a:gd name="T15" fmla="*/ 5 h 37"/>
                <a:gd name="T16" fmla="*/ 3 w 25"/>
                <a:gd name="T17" fmla="*/ 7 h 37"/>
                <a:gd name="T18" fmla="*/ 2 w 25"/>
                <a:gd name="T19" fmla="*/ 3 h 37"/>
                <a:gd name="T20" fmla="*/ 16 w 25"/>
                <a:gd name="T21" fmla="*/ 0 h 37"/>
                <a:gd name="T22" fmla="*/ 23 w 25"/>
                <a:gd name="T23" fmla="*/ 3 h 37"/>
                <a:gd name="T24" fmla="*/ 25 w 25"/>
                <a:gd name="T25" fmla="*/ 14 h 37"/>
                <a:gd name="T26" fmla="*/ 25 w 25"/>
                <a:gd name="T27" fmla="*/ 36 h 37"/>
                <a:gd name="T28" fmla="*/ 20 w 25"/>
                <a:gd name="T29" fmla="*/ 36 h 37"/>
                <a:gd name="T30" fmla="*/ 20 w 25"/>
                <a:gd name="T31" fmla="*/ 19 h 37"/>
                <a:gd name="T32" fmla="*/ 6 w 25"/>
                <a:gd name="T33" fmla="*/ 26 h 37"/>
                <a:gd name="T34" fmla="*/ 11 w 25"/>
                <a:gd name="T35" fmla="*/ 32 h 37"/>
                <a:gd name="T36" fmla="*/ 20 w 25"/>
                <a:gd name="T37" fmla="*/ 30 h 37"/>
                <a:gd name="T38" fmla="*/ 20 w 25"/>
                <a:gd name="T3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7">
                  <a:moveTo>
                    <a:pt x="20" y="36"/>
                  </a:moveTo>
                  <a:cubicBezTo>
                    <a:pt x="20" y="33"/>
                    <a:pt x="20" y="33"/>
                    <a:pt x="20" y="33"/>
                  </a:cubicBezTo>
                  <a:cubicBezTo>
                    <a:pt x="16" y="36"/>
                    <a:pt x="12" y="37"/>
                    <a:pt x="9" y="37"/>
                  </a:cubicBezTo>
                  <a:cubicBezTo>
                    <a:pt x="5" y="37"/>
                    <a:pt x="0" y="34"/>
                    <a:pt x="0" y="26"/>
                  </a:cubicBezTo>
                  <a:cubicBezTo>
                    <a:pt x="0" y="20"/>
                    <a:pt x="3" y="17"/>
                    <a:pt x="7" y="16"/>
                  </a:cubicBezTo>
                  <a:cubicBezTo>
                    <a:pt x="9" y="15"/>
                    <a:pt x="13" y="15"/>
                    <a:pt x="20" y="15"/>
                  </a:cubicBezTo>
                  <a:cubicBezTo>
                    <a:pt x="20" y="14"/>
                    <a:pt x="20" y="14"/>
                    <a:pt x="20" y="14"/>
                  </a:cubicBezTo>
                  <a:cubicBezTo>
                    <a:pt x="20" y="8"/>
                    <a:pt x="20" y="5"/>
                    <a:pt x="13" y="5"/>
                  </a:cubicBezTo>
                  <a:cubicBezTo>
                    <a:pt x="11" y="5"/>
                    <a:pt x="7" y="6"/>
                    <a:pt x="3" y="7"/>
                  </a:cubicBezTo>
                  <a:cubicBezTo>
                    <a:pt x="2" y="3"/>
                    <a:pt x="2" y="3"/>
                    <a:pt x="2" y="3"/>
                  </a:cubicBezTo>
                  <a:cubicBezTo>
                    <a:pt x="8" y="1"/>
                    <a:pt x="12" y="0"/>
                    <a:pt x="16" y="0"/>
                  </a:cubicBezTo>
                  <a:cubicBezTo>
                    <a:pt x="19" y="0"/>
                    <a:pt x="22" y="1"/>
                    <a:pt x="23" y="3"/>
                  </a:cubicBezTo>
                  <a:cubicBezTo>
                    <a:pt x="25" y="5"/>
                    <a:pt x="25" y="7"/>
                    <a:pt x="25" y="14"/>
                  </a:cubicBezTo>
                  <a:cubicBezTo>
                    <a:pt x="25" y="36"/>
                    <a:pt x="25" y="36"/>
                    <a:pt x="25" y="36"/>
                  </a:cubicBezTo>
                  <a:lnTo>
                    <a:pt x="20" y="36"/>
                  </a:lnTo>
                  <a:close/>
                  <a:moveTo>
                    <a:pt x="20" y="19"/>
                  </a:moveTo>
                  <a:cubicBezTo>
                    <a:pt x="8" y="20"/>
                    <a:pt x="6" y="21"/>
                    <a:pt x="6" y="26"/>
                  </a:cubicBezTo>
                  <a:cubicBezTo>
                    <a:pt x="6" y="30"/>
                    <a:pt x="8" y="32"/>
                    <a:pt x="11" y="32"/>
                  </a:cubicBezTo>
                  <a:cubicBezTo>
                    <a:pt x="14" y="32"/>
                    <a:pt x="20" y="30"/>
                    <a:pt x="20" y="30"/>
                  </a:cubicBezTo>
                  <a:lnTo>
                    <a:pt x="2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23"/>
            <p:cNvSpPr>
              <a:spLocks noEditPoints="1"/>
            </p:cNvSpPr>
            <p:nvPr userDrawn="1"/>
          </p:nvSpPr>
          <p:spPr bwMode="auto">
            <a:xfrm>
              <a:off x="-1821143" y="908752"/>
              <a:ext cx="19050" cy="139700"/>
            </a:xfrm>
            <a:custGeom>
              <a:avLst/>
              <a:gdLst>
                <a:gd name="T0" fmla="*/ 3 w 7"/>
                <a:gd name="T1" fmla="*/ 8 h 50"/>
                <a:gd name="T2" fmla="*/ 0 w 7"/>
                <a:gd name="T3" fmla="*/ 4 h 50"/>
                <a:gd name="T4" fmla="*/ 3 w 7"/>
                <a:gd name="T5" fmla="*/ 0 h 50"/>
                <a:gd name="T6" fmla="*/ 7 w 7"/>
                <a:gd name="T7" fmla="*/ 4 h 50"/>
                <a:gd name="T8" fmla="*/ 3 w 7"/>
                <a:gd name="T9" fmla="*/ 8 h 50"/>
                <a:gd name="T10" fmla="*/ 1 w 7"/>
                <a:gd name="T11" fmla="*/ 15 h 50"/>
                <a:gd name="T12" fmla="*/ 6 w 7"/>
                <a:gd name="T13" fmla="*/ 15 h 50"/>
                <a:gd name="T14" fmla="*/ 6 w 7"/>
                <a:gd name="T15" fmla="*/ 50 h 50"/>
                <a:gd name="T16" fmla="*/ 1 w 7"/>
                <a:gd name="T17" fmla="*/ 50 h 50"/>
                <a:gd name="T18" fmla="*/ 1 w 7"/>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3" y="8"/>
                  </a:moveTo>
                  <a:cubicBezTo>
                    <a:pt x="1" y="8"/>
                    <a:pt x="0" y="6"/>
                    <a:pt x="0" y="4"/>
                  </a:cubicBezTo>
                  <a:cubicBezTo>
                    <a:pt x="0" y="2"/>
                    <a:pt x="1" y="0"/>
                    <a:pt x="3" y="0"/>
                  </a:cubicBezTo>
                  <a:cubicBezTo>
                    <a:pt x="5" y="0"/>
                    <a:pt x="7" y="2"/>
                    <a:pt x="7" y="4"/>
                  </a:cubicBezTo>
                  <a:cubicBezTo>
                    <a:pt x="7" y="6"/>
                    <a:pt x="5" y="8"/>
                    <a:pt x="3" y="8"/>
                  </a:cubicBezTo>
                  <a:moveTo>
                    <a:pt x="1" y="15"/>
                  </a:moveTo>
                  <a:cubicBezTo>
                    <a:pt x="6" y="15"/>
                    <a:pt x="6" y="15"/>
                    <a:pt x="6" y="15"/>
                  </a:cubicBezTo>
                  <a:cubicBezTo>
                    <a:pt x="6" y="50"/>
                    <a:pt x="6" y="50"/>
                    <a:pt x="6" y="50"/>
                  </a:cubicBezTo>
                  <a:cubicBezTo>
                    <a:pt x="1" y="50"/>
                    <a:pt x="1" y="50"/>
                    <a:pt x="1" y="50"/>
                  </a:cubicBezTo>
                  <a:lnTo>
                    <a:pt x="1"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24"/>
            <p:cNvSpPr>
              <a:spLocks/>
            </p:cNvSpPr>
            <p:nvPr userDrawn="1"/>
          </p:nvSpPr>
          <p:spPr bwMode="auto">
            <a:xfrm>
              <a:off x="-1781456" y="946852"/>
              <a:ext cx="63500" cy="104775"/>
            </a:xfrm>
            <a:custGeom>
              <a:avLst/>
              <a:gdLst>
                <a:gd name="T0" fmla="*/ 10 w 23"/>
                <a:gd name="T1" fmla="*/ 37 h 37"/>
                <a:gd name="T2" fmla="*/ 0 w 23"/>
                <a:gd name="T3" fmla="*/ 35 h 37"/>
                <a:gd name="T4" fmla="*/ 1 w 23"/>
                <a:gd name="T5" fmla="*/ 31 h 37"/>
                <a:gd name="T6" fmla="*/ 9 w 23"/>
                <a:gd name="T7" fmla="*/ 32 h 37"/>
                <a:gd name="T8" fmla="*/ 17 w 23"/>
                <a:gd name="T9" fmla="*/ 27 h 37"/>
                <a:gd name="T10" fmla="*/ 11 w 23"/>
                <a:gd name="T11" fmla="*/ 21 h 37"/>
                <a:gd name="T12" fmla="*/ 0 w 23"/>
                <a:gd name="T13" fmla="*/ 11 h 37"/>
                <a:gd name="T14" fmla="*/ 12 w 23"/>
                <a:gd name="T15" fmla="*/ 0 h 37"/>
                <a:gd name="T16" fmla="*/ 21 w 23"/>
                <a:gd name="T17" fmla="*/ 2 h 37"/>
                <a:gd name="T18" fmla="*/ 20 w 23"/>
                <a:gd name="T19" fmla="*/ 6 h 37"/>
                <a:gd name="T20" fmla="*/ 12 w 23"/>
                <a:gd name="T21" fmla="*/ 5 h 37"/>
                <a:gd name="T22" fmla="*/ 6 w 23"/>
                <a:gd name="T23" fmla="*/ 10 h 37"/>
                <a:gd name="T24" fmla="*/ 23 w 23"/>
                <a:gd name="T25" fmla="*/ 26 h 37"/>
                <a:gd name="T26" fmla="*/ 10 w 23"/>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37">
                  <a:moveTo>
                    <a:pt x="10" y="37"/>
                  </a:moveTo>
                  <a:cubicBezTo>
                    <a:pt x="7" y="37"/>
                    <a:pt x="4" y="37"/>
                    <a:pt x="0" y="35"/>
                  </a:cubicBezTo>
                  <a:cubicBezTo>
                    <a:pt x="1" y="31"/>
                    <a:pt x="1" y="31"/>
                    <a:pt x="1" y="31"/>
                  </a:cubicBezTo>
                  <a:cubicBezTo>
                    <a:pt x="4" y="32"/>
                    <a:pt x="7" y="32"/>
                    <a:pt x="9" y="32"/>
                  </a:cubicBezTo>
                  <a:cubicBezTo>
                    <a:pt x="14" y="32"/>
                    <a:pt x="17" y="30"/>
                    <a:pt x="17" y="27"/>
                  </a:cubicBezTo>
                  <a:cubicBezTo>
                    <a:pt x="17" y="24"/>
                    <a:pt x="16" y="22"/>
                    <a:pt x="11" y="21"/>
                  </a:cubicBezTo>
                  <a:cubicBezTo>
                    <a:pt x="5" y="19"/>
                    <a:pt x="0" y="17"/>
                    <a:pt x="0" y="11"/>
                  </a:cubicBezTo>
                  <a:cubicBezTo>
                    <a:pt x="0" y="4"/>
                    <a:pt x="4" y="0"/>
                    <a:pt x="12" y="0"/>
                  </a:cubicBezTo>
                  <a:cubicBezTo>
                    <a:pt x="14" y="0"/>
                    <a:pt x="17" y="1"/>
                    <a:pt x="21" y="2"/>
                  </a:cubicBezTo>
                  <a:cubicBezTo>
                    <a:pt x="20" y="6"/>
                    <a:pt x="20" y="6"/>
                    <a:pt x="20" y="6"/>
                  </a:cubicBezTo>
                  <a:cubicBezTo>
                    <a:pt x="17" y="5"/>
                    <a:pt x="14" y="5"/>
                    <a:pt x="12" y="5"/>
                  </a:cubicBezTo>
                  <a:cubicBezTo>
                    <a:pt x="8" y="5"/>
                    <a:pt x="6" y="7"/>
                    <a:pt x="6" y="10"/>
                  </a:cubicBezTo>
                  <a:cubicBezTo>
                    <a:pt x="6" y="18"/>
                    <a:pt x="23" y="14"/>
                    <a:pt x="23" y="26"/>
                  </a:cubicBezTo>
                  <a:cubicBezTo>
                    <a:pt x="23" y="33"/>
                    <a:pt x="18" y="37"/>
                    <a:pt x="10" y="3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25"/>
            <p:cNvSpPr>
              <a:spLocks noEditPoints="1"/>
            </p:cNvSpPr>
            <p:nvPr userDrawn="1"/>
          </p:nvSpPr>
          <p:spPr bwMode="auto">
            <a:xfrm>
              <a:off x="-1697318" y="908752"/>
              <a:ext cx="19050" cy="139700"/>
            </a:xfrm>
            <a:custGeom>
              <a:avLst/>
              <a:gdLst>
                <a:gd name="T0" fmla="*/ 3 w 7"/>
                <a:gd name="T1" fmla="*/ 8 h 50"/>
                <a:gd name="T2" fmla="*/ 0 w 7"/>
                <a:gd name="T3" fmla="*/ 4 h 50"/>
                <a:gd name="T4" fmla="*/ 3 w 7"/>
                <a:gd name="T5" fmla="*/ 0 h 50"/>
                <a:gd name="T6" fmla="*/ 7 w 7"/>
                <a:gd name="T7" fmla="*/ 4 h 50"/>
                <a:gd name="T8" fmla="*/ 3 w 7"/>
                <a:gd name="T9" fmla="*/ 8 h 50"/>
                <a:gd name="T10" fmla="*/ 0 w 7"/>
                <a:gd name="T11" fmla="*/ 15 h 50"/>
                <a:gd name="T12" fmla="*/ 6 w 7"/>
                <a:gd name="T13" fmla="*/ 15 h 50"/>
                <a:gd name="T14" fmla="*/ 6 w 7"/>
                <a:gd name="T15" fmla="*/ 50 h 50"/>
                <a:gd name="T16" fmla="*/ 0 w 7"/>
                <a:gd name="T17" fmla="*/ 50 h 50"/>
                <a:gd name="T18" fmla="*/ 0 w 7"/>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3" y="8"/>
                  </a:moveTo>
                  <a:cubicBezTo>
                    <a:pt x="1" y="8"/>
                    <a:pt x="0" y="6"/>
                    <a:pt x="0" y="4"/>
                  </a:cubicBezTo>
                  <a:cubicBezTo>
                    <a:pt x="0" y="2"/>
                    <a:pt x="1" y="0"/>
                    <a:pt x="3" y="0"/>
                  </a:cubicBezTo>
                  <a:cubicBezTo>
                    <a:pt x="5" y="0"/>
                    <a:pt x="7" y="2"/>
                    <a:pt x="7" y="4"/>
                  </a:cubicBezTo>
                  <a:cubicBezTo>
                    <a:pt x="7" y="6"/>
                    <a:pt x="5" y="8"/>
                    <a:pt x="3" y="8"/>
                  </a:cubicBezTo>
                  <a:moveTo>
                    <a:pt x="0" y="15"/>
                  </a:moveTo>
                  <a:cubicBezTo>
                    <a:pt x="6" y="15"/>
                    <a:pt x="6" y="15"/>
                    <a:pt x="6" y="15"/>
                  </a:cubicBezTo>
                  <a:cubicBezTo>
                    <a:pt x="6" y="50"/>
                    <a:pt x="6" y="50"/>
                    <a:pt x="6" y="50"/>
                  </a:cubicBezTo>
                  <a:cubicBezTo>
                    <a:pt x="0" y="50"/>
                    <a:pt x="0" y="50"/>
                    <a:pt x="0" y="50"/>
                  </a:cubicBezTo>
                  <a:lnTo>
                    <a:pt x="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26"/>
            <p:cNvSpPr>
              <a:spLocks/>
            </p:cNvSpPr>
            <p:nvPr userDrawn="1"/>
          </p:nvSpPr>
          <p:spPr bwMode="auto">
            <a:xfrm>
              <a:off x="-1649693" y="946852"/>
              <a:ext cx="74612" cy="101600"/>
            </a:xfrm>
            <a:custGeom>
              <a:avLst/>
              <a:gdLst>
                <a:gd name="T0" fmla="*/ 21 w 27"/>
                <a:gd name="T1" fmla="*/ 36 h 36"/>
                <a:gd name="T2" fmla="*/ 21 w 27"/>
                <a:gd name="T3" fmla="*/ 15 h 36"/>
                <a:gd name="T4" fmla="*/ 16 w 27"/>
                <a:gd name="T5" fmla="*/ 5 h 36"/>
                <a:gd name="T6" fmla="*/ 5 w 27"/>
                <a:gd name="T7" fmla="*/ 7 h 36"/>
                <a:gd name="T8" fmla="*/ 5 w 27"/>
                <a:gd name="T9" fmla="*/ 36 h 36"/>
                <a:gd name="T10" fmla="*/ 0 w 27"/>
                <a:gd name="T11" fmla="*/ 36 h 36"/>
                <a:gd name="T12" fmla="*/ 0 w 27"/>
                <a:gd name="T13" fmla="*/ 1 h 36"/>
                <a:gd name="T14" fmla="*/ 5 w 27"/>
                <a:gd name="T15" fmla="*/ 1 h 36"/>
                <a:gd name="T16" fmla="*/ 5 w 27"/>
                <a:gd name="T17" fmla="*/ 4 h 36"/>
                <a:gd name="T18" fmla="*/ 17 w 27"/>
                <a:gd name="T19" fmla="*/ 0 h 36"/>
                <a:gd name="T20" fmla="*/ 25 w 27"/>
                <a:gd name="T21" fmla="*/ 4 h 36"/>
                <a:gd name="T22" fmla="*/ 27 w 27"/>
                <a:gd name="T23" fmla="*/ 13 h 36"/>
                <a:gd name="T24" fmla="*/ 27 w 27"/>
                <a:gd name="T25" fmla="*/ 36 h 36"/>
                <a:gd name="T26" fmla="*/ 21 w 27"/>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6">
                  <a:moveTo>
                    <a:pt x="21" y="36"/>
                  </a:moveTo>
                  <a:cubicBezTo>
                    <a:pt x="21" y="15"/>
                    <a:pt x="21" y="15"/>
                    <a:pt x="21" y="15"/>
                  </a:cubicBezTo>
                  <a:cubicBezTo>
                    <a:pt x="21" y="10"/>
                    <a:pt x="22" y="5"/>
                    <a:pt x="16" y="5"/>
                  </a:cubicBezTo>
                  <a:cubicBezTo>
                    <a:pt x="13" y="5"/>
                    <a:pt x="9" y="6"/>
                    <a:pt x="5" y="7"/>
                  </a:cubicBezTo>
                  <a:cubicBezTo>
                    <a:pt x="5" y="36"/>
                    <a:pt x="5" y="36"/>
                    <a:pt x="5" y="36"/>
                  </a:cubicBezTo>
                  <a:cubicBezTo>
                    <a:pt x="0" y="36"/>
                    <a:pt x="0" y="36"/>
                    <a:pt x="0" y="36"/>
                  </a:cubicBezTo>
                  <a:cubicBezTo>
                    <a:pt x="0" y="1"/>
                    <a:pt x="0" y="1"/>
                    <a:pt x="0" y="1"/>
                  </a:cubicBezTo>
                  <a:cubicBezTo>
                    <a:pt x="5" y="1"/>
                    <a:pt x="5" y="1"/>
                    <a:pt x="5" y="1"/>
                  </a:cubicBezTo>
                  <a:cubicBezTo>
                    <a:pt x="5" y="4"/>
                    <a:pt x="5" y="4"/>
                    <a:pt x="5" y="4"/>
                  </a:cubicBezTo>
                  <a:cubicBezTo>
                    <a:pt x="10" y="2"/>
                    <a:pt x="14" y="0"/>
                    <a:pt x="17" y="0"/>
                  </a:cubicBezTo>
                  <a:cubicBezTo>
                    <a:pt x="21" y="0"/>
                    <a:pt x="24" y="2"/>
                    <a:pt x="25" y="4"/>
                  </a:cubicBezTo>
                  <a:cubicBezTo>
                    <a:pt x="27" y="6"/>
                    <a:pt x="27" y="7"/>
                    <a:pt x="27" y="13"/>
                  </a:cubicBezTo>
                  <a:cubicBezTo>
                    <a:pt x="27" y="36"/>
                    <a:pt x="27" y="36"/>
                    <a:pt x="27" y="36"/>
                  </a:cubicBezTo>
                  <a:lnTo>
                    <a:pt x="21"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27"/>
            <p:cNvSpPr>
              <a:spLocks noEditPoints="1"/>
            </p:cNvSpPr>
            <p:nvPr userDrawn="1"/>
          </p:nvSpPr>
          <p:spPr bwMode="auto">
            <a:xfrm>
              <a:off x="-1551268" y="946852"/>
              <a:ext cx="80962" cy="146050"/>
            </a:xfrm>
            <a:custGeom>
              <a:avLst/>
              <a:gdLst>
                <a:gd name="T0" fmla="*/ 25 w 29"/>
                <a:gd name="T1" fmla="*/ 49 h 52"/>
                <a:gd name="T2" fmla="*/ 15 w 29"/>
                <a:gd name="T3" fmla="*/ 52 h 52"/>
                <a:gd name="T4" fmla="*/ 3 w 29"/>
                <a:gd name="T5" fmla="*/ 50 h 52"/>
                <a:gd name="T6" fmla="*/ 3 w 29"/>
                <a:gd name="T7" fmla="*/ 47 h 52"/>
                <a:gd name="T8" fmla="*/ 13 w 29"/>
                <a:gd name="T9" fmla="*/ 47 h 52"/>
                <a:gd name="T10" fmla="*/ 22 w 29"/>
                <a:gd name="T11" fmla="*/ 44 h 52"/>
                <a:gd name="T12" fmla="*/ 24 w 29"/>
                <a:gd name="T13" fmla="*/ 35 h 52"/>
                <a:gd name="T14" fmla="*/ 24 w 29"/>
                <a:gd name="T15" fmla="*/ 32 h 52"/>
                <a:gd name="T16" fmla="*/ 12 w 29"/>
                <a:gd name="T17" fmla="*/ 36 h 52"/>
                <a:gd name="T18" fmla="*/ 0 w 29"/>
                <a:gd name="T19" fmla="*/ 19 h 52"/>
                <a:gd name="T20" fmla="*/ 13 w 29"/>
                <a:gd name="T21" fmla="*/ 0 h 52"/>
                <a:gd name="T22" fmla="*/ 24 w 29"/>
                <a:gd name="T23" fmla="*/ 4 h 52"/>
                <a:gd name="T24" fmla="*/ 24 w 29"/>
                <a:gd name="T25" fmla="*/ 1 h 52"/>
                <a:gd name="T26" fmla="*/ 29 w 29"/>
                <a:gd name="T27" fmla="*/ 1 h 52"/>
                <a:gd name="T28" fmla="*/ 29 w 29"/>
                <a:gd name="T29" fmla="*/ 34 h 52"/>
                <a:gd name="T30" fmla="*/ 25 w 29"/>
                <a:gd name="T31" fmla="*/ 49 h 52"/>
                <a:gd name="T32" fmla="*/ 24 w 29"/>
                <a:gd name="T33" fmla="*/ 8 h 52"/>
                <a:gd name="T34" fmla="*/ 14 w 29"/>
                <a:gd name="T35" fmla="*/ 5 h 52"/>
                <a:gd name="T36" fmla="*/ 6 w 29"/>
                <a:gd name="T37" fmla="*/ 18 h 52"/>
                <a:gd name="T38" fmla="*/ 14 w 29"/>
                <a:gd name="T39" fmla="*/ 31 h 52"/>
                <a:gd name="T40" fmla="*/ 24 w 29"/>
                <a:gd name="T41" fmla="*/ 29 h 52"/>
                <a:gd name="T42" fmla="*/ 24 w 29"/>
                <a:gd name="T4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52">
                  <a:moveTo>
                    <a:pt x="25" y="49"/>
                  </a:moveTo>
                  <a:cubicBezTo>
                    <a:pt x="22" y="51"/>
                    <a:pt x="19" y="52"/>
                    <a:pt x="15" y="52"/>
                  </a:cubicBezTo>
                  <a:cubicBezTo>
                    <a:pt x="12" y="52"/>
                    <a:pt x="9" y="52"/>
                    <a:pt x="3" y="50"/>
                  </a:cubicBezTo>
                  <a:cubicBezTo>
                    <a:pt x="3" y="47"/>
                    <a:pt x="3" y="47"/>
                    <a:pt x="3" y="47"/>
                  </a:cubicBezTo>
                  <a:cubicBezTo>
                    <a:pt x="8" y="47"/>
                    <a:pt x="10" y="47"/>
                    <a:pt x="13" y="47"/>
                  </a:cubicBezTo>
                  <a:cubicBezTo>
                    <a:pt x="18" y="47"/>
                    <a:pt x="21" y="46"/>
                    <a:pt x="22" y="44"/>
                  </a:cubicBezTo>
                  <a:cubicBezTo>
                    <a:pt x="23" y="42"/>
                    <a:pt x="24" y="40"/>
                    <a:pt x="24" y="35"/>
                  </a:cubicBezTo>
                  <a:cubicBezTo>
                    <a:pt x="24" y="32"/>
                    <a:pt x="24" y="32"/>
                    <a:pt x="24" y="32"/>
                  </a:cubicBezTo>
                  <a:cubicBezTo>
                    <a:pt x="19" y="35"/>
                    <a:pt x="15" y="36"/>
                    <a:pt x="12" y="36"/>
                  </a:cubicBezTo>
                  <a:cubicBezTo>
                    <a:pt x="4" y="36"/>
                    <a:pt x="0" y="30"/>
                    <a:pt x="0" y="19"/>
                  </a:cubicBezTo>
                  <a:cubicBezTo>
                    <a:pt x="0" y="8"/>
                    <a:pt x="5" y="0"/>
                    <a:pt x="13" y="0"/>
                  </a:cubicBezTo>
                  <a:cubicBezTo>
                    <a:pt x="17" y="0"/>
                    <a:pt x="20" y="2"/>
                    <a:pt x="24" y="4"/>
                  </a:cubicBezTo>
                  <a:cubicBezTo>
                    <a:pt x="24" y="1"/>
                    <a:pt x="24" y="1"/>
                    <a:pt x="24" y="1"/>
                  </a:cubicBezTo>
                  <a:cubicBezTo>
                    <a:pt x="29" y="1"/>
                    <a:pt x="29" y="1"/>
                    <a:pt x="29" y="1"/>
                  </a:cubicBezTo>
                  <a:cubicBezTo>
                    <a:pt x="29" y="34"/>
                    <a:pt x="29" y="34"/>
                    <a:pt x="29" y="34"/>
                  </a:cubicBezTo>
                  <a:cubicBezTo>
                    <a:pt x="29" y="44"/>
                    <a:pt x="28" y="46"/>
                    <a:pt x="25" y="49"/>
                  </a:cubicBezTo>
                  <a:moveTo>
                    <a:pt x="24" y="8"/>
                  </a:moveTo>
                  <a:cubicBezTo>
                    <a:pt x="18" y="6"/>
                    <a:pt x="17" y="5"/>
                    <a:pt x="14" y="5"/>
                  </a:cubicBezTo>
                  <a:cubicBezTo>
                    <a:pt x="9" y="5"/>
                    <a:pt x="6" y="10"/>
                    <a:pt x="6" y="18"/>
                  </a:cubicBezTo>
                  <a:cubicBezTo>
                    <a:pt x="6" y="27"/>
                    <a:pt x="9" y="31"/>
                    <a:pt x="14" y="31"/>
                  </a:cubicBezTo>
                  <a:cubicBezTo>
                    <a:pt x="16" y="31"/>
                    <a:pt x="18" y="31"/>
                    <a:pt x="24" y="29"/>
                  </a:cubicBezTo>
                  <a:lnTo>
                    <a:pt x="24"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28"/>
            <p:cNvSpPr>
              <a:spLocks/>
            </p:cNvSpPr>
            <p:nvPr userDrawn="1"/>
          </p:nvSpPr>
          <p:spPr bwMode="auto">
            <a:xfrm>
              <a:off x="-1397281" y="946852"/>
              <a:ext cx="63500" cy="104775"/>
            </a:xfrm>
            <a:custGeom>
              <a:avLst/>
              <a:gdLst>
                <a:gd name="T0" fmla="*/ 11 w 23"/>
                <a:gd name="T1" fmla="*/ 37 h 37"/>
                <a:gd name="T2" fmla="*/ 0 w 23"/>
                <a:gd name="T3" fmla="*/ 35 h 37"/>
                <a:gd name="T4" fmla="*/ 1 w 23"/>
                <a:gd name="T5" fmla="*/ 31 h 37"/>
                <a:gd name="T6" fmla="*/ 10 w 23"/>
                <a:gd name="T7" fmla="*/ 32 h 37"/>
                <a:gd name="T8" fmla="*/ 18 w 23"/>
                <a:gd name="T9" fmla="*/ 27 h 37"/>
                <a:gd name="T10" fmla="*/ 12 w 23"/>
                <a:gd name="T11" fmla="*/ 21 h 37"/>
                <a:gd name="T12" fmla="*/ 1 w 23"/>
                <a:gd name="T13" fmla="*/ 11 h 37"/>
                <a:gd name="T14" fmla="*/ 12 w 23"/>
                <a:gd name="T15" fmla="*/ 0 h 37"/>
                <a:gd name="T16" fmla="*/ 21 w 23"/>
                <a:gd name="T17" fmla="*/ 2 h 37"/>
                <a:gd name="T18" fmla="*/ 21 w 23"/>
                <a:gd name="T19" fmla="*/ 6 h 37"/>
                <a:gd name="T20" fmla="*/ 13 w 23"/>
                <a:gd name="T21" fmla="*/ 5 h 37"/>
                <a:gd name="T22" fmla="*/ 6 w 23"/>
                <a:gd name="T23" fmla="*/ 10 h 37"/>
                <a:gd name="T24" fmla="*/ 23 w 23"/>
                <a:gd name="T25" fmla="*/ 26 h 37"/>
                <a:gd name="T26" fmla="*/ 11 w 23"/>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37">
                  <a:moveTo>
                    <a:pt x="11" y="37"/>
                  </a:moveTo>
                  <a:cubicBezTo>
                    <a:pt x="7" y="37"/>
                    <a:pt x="5" y="37"/>
                    <a:pt x="0" y="35"/>
                  </a:cubicBezTo>
                  <a:cubicBezTo>
                    <a:pt x="1" y="31"/>
                    <a:pt x="1" y="31"/>
                    <a:pt x="1" y="31"/>
                  </a:cubicBezTo>
                  <a:cubicBezTo>
                    <a:pt x="5" y="32"/>
                    <a:pt x="7" y="32"/>
                    <a:pt x="10" y="32"/>
                  </a:cubicBezTo>
                  <a:cubicBezTo>
                    <a:pt x="15" y="32"/>
                    <a:pt x="18" y="30"/>
                    <a:pt x="18" y="27"/>
                  </a:cubicBezTo>
                  <a:cubicBezTo>
                    <a:pt x="18" y="24"/>
                    <a:pt x="16" y="22"/>
                    <a:pt x="12" y="21"/>
                  </a:cubicBezTo>
                  <a:cubicBezTo>
                    <a:pt x="6" y="19"/>
                    <a:pt x="1" y="17"/>
                    <a:pt x="1" y="11"/>
                  </a:cubicBezTo>
                  <a:cubicBezTo>
                    <a:pt x="1" y="4"/>
                    <a:pt x="5" y="0"/>
                    <a:pt x="12" y="0"/>
                  </a:cubicBezTo>
                  <a:cubicBezTo>
                    <a:pt x="15" y="0"/>
                    <a:pt x="18" y="1"/>
                    <a:pt x="21" y="2"/>
                  </a:cubicBezTo>
                  <a:cubicBezTo>
                    <a:pt x="21" y="6"/>
                    <a:pt x="21" y="6"/>
                    <a:pt x="21" y="6"/>
                  </a:cubicBezTo>
                  <a:cubicBezTo>
                    <a:pt x="17" y="5"/>
                    <a:pt x="15" y="5"/>
                    <a:pt x="13" y="5"/>
                  </a:cubicBezTo>
                  <a:cubicBezTo>
                    <a:pt x="9" y="5"/>
                    <a:pt x="6" y="7"/>
                    <a:pt x="6" y="10"/>
                  </a:cubicBezTo>
                  <a:cubicBezTo>
                    <a:pt x="6" y="18"/>
                    <a:pt x="23" y="14"/>
                    <a:pt x="23" y="26"/>
                  </a:cubicBezTo>
                  <a:cubicBezTo>
                    <a:pt x="23" y="33"/>
                    <a:pt x="19" y="37"/>
                    <a:pt x="11" y="3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9"/>
            <p:cNvSpPr>
              <a:spLocks/>
            </p:cNvSpPr>
            <p:nvPr userDrawn="1"/>
          </p:nvSpPr>
          <p:spPr bwMode="auto">
            <a:xfrm>
              <a:off x="-1324256" y="924627"/>
              <a:ext cx="63500" cy="127000"/>
            </a:xfrm>
            <a:custGeom>
              <a:avLst/>
              <a:gdLst>
                <a:gd name="T0" fmla="*/ 13 w 23"/>
                <a:gd name="T1" fmla="*/ 45 h 45"/>
                <a:gd name="T2" fmla="*/ 7 w 23"/>
                <a:gd name="T3" fmla="*/ 42 h 45"/>
                <a:gd name="T4" fmla="*/ 6 w 23"/>
                <a:gd name="T5" fmla="*/ 35 h 45"/>
                <a:gd name="T6" fmla="*/ 6 w 23"/>
                <a:gd name="T7" fmla="*/ 13 h 45"/>
                <a:gd name="T8" fmla="*/ 0 w 23"/>
                <a:gd name="T9" fmla="*/ 13 h 45"/>
                <a:gd name="T10" fmla="*/ 0 w 23"/>
                <a:gd name="T11" fmla="*/ 10 h 45"/>
                <a:gd name="T12" fmla="*/ 6 w 23"/>
                <a:gd name="T13" fmla="*/ 9 h 45"/>
                <a:gd name="T14" fmla="*/ 6 w 23"/>
                <a:gd name="T15" fmla="*/ 0 h 45"/>
                <a:gd name="T16" fmla="*/ 12 w 23"/>
                <a:gd name="T17" fmla="*/ 0 h 45"/>
                <a:gd name="T18" fmla="*/ 12 w 23"/>
                <a:gd name="T19" fmla="*/ 9 h 45"/>
                <a:gd name="T20" fmla="*/ 21 w 23"/>
                <a:gd name="T21" fmla="*/ 9 h 45"/>
                <a:gd name="T22" fmla="*/ 21 w 23"/>
                <a:gd name="T23" fmla="*/ 13 h 45"/>
                <a:gd name="T24" fmla="*/ 12 w 23"/>
                <a:gd name="T25" fmla="*/ 13 h 45"/>
                <a:gd name="T26" fmla="*/ 12 w 23"/>
                <a:gd name="T27" fmla="*/ 32 h 45"/>
                <a:gd name="T28" fmla="*/ 12 w 23"/>
                <a:gd name="T29" fmla="*/ 39 h 45"/>
                <a:gd name="T30" fmla="*/ 15 w 23"/>
                <a:gd name="T31" fmla="*/ 40 h 45"/>
                <a:gd name="T32" fmla="*/ 22 w 23"/>
                <a:gd name="T33" fmla="*/ 39 h 45"/>
                <a:gd name="T34" fmla="*/ 23 w 23"/>
                <a:gd name="T35" fmla="*/ 43 h 45"/>
                <a:gd name="T36" fmla="*/ 13 w 23"/>
                <a:gd name="T3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5">
                  <a:moveTo>
                    <a:pt x="13" y="45"/>
                  </a:moveTo>
                  <a:cubicBezTo>
                    <a:pt x="10" y="45"/>
                    <a:pt x="8" y="44"/>
                    <a:pt x="7" y="42"/>
                  </a:cubicBezTo>
                  <a:cubicBezTo>
                    <a:pt x="6" y="40"/>
                    <a:pt x="6" y="39"/>
                    <a:pt x="6" y="35"/>
                  </a:cubicBezTo>
                  <a:cubicBezTo>
                    <a:pt x="6" y="13"/>
                    <a:pt x="6" y="13"/>
                    <a:pt x="6" y="13"/>
                  </a:cubicBezTo>
                  <a:cubicBezTo>
                    <a:pt x="0" y="13"/>
                    <a:pt x="0" y="13"/>
                    <a:pt x="0" y="13"/>
                  </a:cubicBezTo>
                  <a:cubicBezTo>
                    <a:pt x="0" y="10"/>
                    <a:pt x="0" y="10"/>
                    <a:pt x="0" y="10"/>
                  </a:cubicBezTo>
                  <a:cubicBezTo>
                    <a:pt x="6" y="9"/>
                    <a:pt x="6" y="9"/>
                    <a:pt x="6" y="9"/>
                  </a:cubicBezTo>
                  <a:cubicBezTo>
                    <a:pt x="6" y="0"/>
                    <a:pt x="6" y="0"/>
                    <a:pt x="6" y="0"/>
                  </a:cubicBezTo>
                  <a:cubicBezTo>
                    <a:pt x="12" y="0"/>
                    <a:pt x="12" y="0"/>
                    <a:pt x="12" y="0"/>
                  </a:cubicBezTo>
                  <a:cubicBezTo>
                    <a:pt x="12" y="9"/>
                    <a:pt x="12" y="9"/>
                    <a:pt x="12" y="9"/>
                  </a:cubicBezTo>
                  <a:cubicBezTo>
                    <a:pt x="21" y="9"/>
                    <a:pt x="21" y="9"/>
                    <a:pt x="21" y="9"/>
                  </a:cubicBezTo>
                  <a:cubicBezTo>
                    <a:pt x="21" y="13"/>
                    <a:pt x="21" y="13"/>
                    <a:pt x="21" y="13"/>
                  </a:cubicBezTo>
                  <a:cubicBezTo>
                    <a:pt x="12" y="13"/>
                    <a:pt x="12" y="13"/>
                    <a:pt x="12" y="13"/>
                  </a:cubicBezTo>
                  <a:cubicBezTo>
                    <a:pt x="12" y="32"/>
                    <a:pt x="12" y="32"/>
                    <a:pt x="12" y="32"/>
                  </a:cubicBezTo>
                  <a:cubicBezTo>
                    <a:pt x="12" y="38"/>
                    <a:pt x="12" y="38"/>
                    <a:pt x="12" y="39"/>
                  </a:cubicBezTo>
                  <a:cubicBezTo>
                    <a:pt x="13" y="40"/>
                    <a:pt x="14" y="40"/>
                    <a:pt x="15" y="40"/>
                  </a:cubicBezTo>
                  <a:cubicBezTo>
                    <a:pt x="17" y="40"/>
                    <a:pt x="19" y="40"/>
                    <a:pt x="22" y="39"/>
                  </a:cubicBezTo>
                  <a:cubicBezTo>
                    <a:pt x="23" y="43"/>
                    <a:pt x="23" y="43"/>
                    <a:pt x="23" y="43"/>
                  </a:cubicBezTo>
                  <a:cubicBezTo>
                    <a:pt x="19" y="44"/>
                    <a:pt x="16" y="45"/>
                    <a:pt x="13" y="4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30"/>
            <p:cNvSpPr>
              <a:spLocks noEditPoints="1"/>
            </p:cNvSpPr>
            <p:nvPr userDrawn="1"/>
          </p:nvSpPr>
          <p:spPr bwMode="auto">
            <a:xfrm>
              <a:off x="-1249643" y="946852"/>
              <a:ext cx="71437" cy="104775"/>
            </a:xfrm>
            <a:custGeom>
              <a:avLst/>
              <a:gdLst>
                <a:gd name="T0" fmla="*/ 20 w 25"/>
                <a:gd name="T1" fmla="*/ 36 h 37"/>
                <a:gd name="T2" fmla="*/ 20 w 25"/>
                <a:gd name="T3" fmla="*/ 33 h 37"/>
                <a:gd name="T4" fmla="*/ 9 w 25"/>
                <a:gd name="T5" fmla="*/ 37 h 37"/>
                <a:gd name="T6" fmla="*/ 0 w 25"/>
                <a:gd name="T7" fmla="*/ 26 h 37"/>
                <a:gd name="T8" fmla="*/ 7 w 25"/>
                <a:gd name="T9" fmla="*/ 16 h 37"/>
                <a:gd name="T10" fmla="*/ 20 w 25"/>
                <a:gd name="T11" fmla="*/ 15 h 37"/>
                <a:gd name="T12" fmla="*/ 20 w 25"/>
                <a:gd name="T13" fmla="*/ 14 h 37"/>
                <a:gd name="T14" fmla="*/ 13 w 25"/>
                <a:gd name="T15" fmla="*/ 5 h 37"/>
                <a:gd name="T16" fmla="*/ 3 w 25"/>
                <a:gd name="T17" fmla="*/ 7 h 37"/>
                <a:gd name="T18" fmla="*/ 2 w 25"/>
                <a:gd name="T19" fmla="*/ 3 h 37"/>
                <a:gd name="T20" fmla="*/ 16 w 25"/>
                <a:gd name="T21" fmla="*/ 0 h 37"/>
                <a:gd name="T22" fmla="*/ 23 w 25"/>
                <a:gd name="T23" fmla="*/ 3 h 37"/>
                <a:gd name="T24" fmla="*/ 25 w 25"/>
                <a:gd name="T25" fmla="*/ 14 h 37"/>
                <a:gd name="T26" fmla="*/ 25 w 25"/>
                <a:gd name="T27" fmla="*/ 36 h 37"/>
                <a:gd name="T28" fmla="*/ 20 w 25"/>
                <a:gd name="T29" fmla="*/ 36 h 37"/>
                <a:gd name="T30" fmla="*/ 20 w 25"/>
                <a:gd name="T31" fmla="*/ 19 h 37"/>
                <a:gd name="T32" fmla="*/ 6 w 25"/>
                <a:gd name="T33" fmla="*/ 26 h 37"/>
                <a:gd name="T34" fmla="*/ 11 w 25"/>
                <a:gd name="T35" fmla="*/ 32 h 37"/>
                <a:gd name="T36" fmla="*/ 20 w 25"/>
                <a:gd name="T37" fmla="*/ 30 h 37"/>
                <a:gd name="T38" fmla="*/ 20 w 25"/>
                <a:gd name="T3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7">
                  <a:moveTo>
                    <a:pt x="20" y="36"/>
                  </a:moveTo>
                  <a:cubicBezTo>
                    <a:pt x="20" y="33"/>
                    <a:pt x="20" y="33"/>
                    <a:pt x="20" y="33"/>
                  </a:cubicBezTo>
                  <a:cubicBezTo>
                    <a:pt x="15" y="36"/>
                    <a:pt x="12" y="37"/>
                    <a:pt x="9" y="37"/>
                  </a:cubicBezTo>
                  <a:cubicBezTo>
                    <a:pt x="5" y="37"/>
                    <a:pt x="0" y="34"/>
                    <a:pt x="0" y="26"/>
                  </a:cubicBezTo>
                  <a:cubicBezTo>
                    <a:pt x="0" y="20"/>
                    <a:pt x="3" y="17"/>
                    <a:pt x="7" y="16"/>
                  </a:cubicBezTo>
                  <a:cubicBezTo>
                    <a:pt x="9" y="15"/>
                    <a:pt x="13" y="15"/>
                    <a:pt x="20" y="15"/>
                  </a:cubicBezTo>
                  <a:cubicBezTo>
                    <a:pt x="20" y="14"/>
                    <a:pt x="20" y="14"/>
                    <a:pt x="20" y="14"/>
                  </a:cubicBezTo>
                  <a:cubicBezTo>
                    <a:pt x="20" y="8"/>
                    <a:pt x="20" y="5"/>
                    <a:pt x="13" y="5"/>
                  </a:cubicBezTo>
                  <a:cubicBezTo>
                    <a:pt x="11" y="5"/>
                    <a:pt x="7" y="6"/>
                    <a:pt x="3" y="7"/>
                  </a:cubicBezTo>
                  <a:cubicBezTo>
                    <a:pt x="2" y="3"/>
                    <a:pt x="2" y="3"/>
                    <a:pt x="2" y="3"/>
                  </a:cubicBezTo>
                  <a:cubicBezTo>
                    <a:pt x="8" y="1"/>
                    <a:pt x="12" y="0"/>
                    <a:pt x="16" y="0"/>
                  </a:cubicBezTo>
                  <a:cubicBezTo>
                    <a:pt x="19" y="0"/>
                    <a:pt x="22" y="1"/>
                    <a:pt x="23" y="3"/>
                  </a:cubicBezTo>
                  <a:cubicBezTo>
                    <a:pt x="25" y="5"/>
                    <a:pt x="25" y="7"/>
                    <a:pt x="25" y="14"/>
                  </a:cubicBezTo>
                  <a:cubicBezTo>
                    <a:pt x="25" y="36"/>
                    <a:pt x="25" y="36"/>
                    <a:pt x="25" y="36"/>
                  </a:cubicBezTo>
                  <a:lnTo>
                    <a:pt x="20" y="36"/>
                  </a:lnTo>
                  <a:close/>
                  <a:moveTo>
                    <a:pt x="20" y="19"/>
                  </a:moveTo>
                  <a:cubicBezTo>
                    <a:pt x="8" y="20"/>
                    <a:pt x="6" y="21"/>
                    <a:pt x="6" y="26"/>
                  </a:cubicBezTo>
                  <a:cubicBezTo>
                    <a:pt x="6" y="30"/>
                    <a:pt x="8" y="32"/>
                    <a:pt x="11" y="32"/>
                  </a:cubicBezTo>
                  <a:cubicBezTo>
                    <a:pt x="14" y="32"/>
                    <a:pt x="20" y="30"/>
                    <a:pt x="20" y="30"/>
                  </a:cubicBezTo>
                  <a:lnTo>
                    <a:pt x="2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31"/>
            <p:cNvSpPr>
              <a:spLocks/>
            </p:cNvSpPr>
            <p:nvPr userDrawn="1"/>
          </p:nvSpPr>
          <p:spPr bwMode="auto">
            <a:xfrm>
              <a:off x="-1148043" y="946852"/>
              <a:ext cx="76200" cy="101600"/>
            </a:xfrm>
            <a:custGeom>
              <a:avLst/>
              <a:gdLst>
                <a:gd name="T0" fmla="*/ 21 w 27"/>
                <a:gd name="T1" fmla="*/ 36 h 36"/>
                <a:gd name="T2" fmla="*/ 21 w 27"/>
                <a:gd name="T3" fmla="*/ 15 h 36"/>
                <a:gd name="T4" fmla="*/ 15 w 27"/>
                <a:gd name="T5" fmla="*/ 5 h 36"/>
                <a:gd name="T6" fmla="*/ 5 w 27"/>
                <a:gd name="T7" fmla="*/ 7 h 36"/>
                <a:gd name="T8" fmla="*/ 5 w 27"/>
                <a:gd name="T9" fmla="*/ 36 h 36"/>
                <a:gd name="T10" fmla="*/ 0 w 27"/>
                <a:gd name="T11" fmla="*/ 36 h 36"/>
                <a:gd name="T12" fmla="*/ 0 w 27"/>
                <a:gd name="T13" fmla="*/ 1 h 36"/>
                <a:gd name="T14" fmla="*/ 5 w 27"/>
                <a:gd name="T15" fmla="*/ 1 h 36"/>
                <a:gd name="T16" fmla="*/ 5 w 27"/>
                <a:gd name="T17" fmla="*/ 4 h 36"/>
                <a:gd name="T18" fmla="*/ 17 w 27"/>
                <a:gd name="T19" fmla="*/ 0 h 36"/>
                <a:gd name="T20" fmla="*/ 25 w 27"/>
                <a:gd name="T21" fmla="*/ 4 h 36"/>
                <a:gd name="T22" fmla="*/ 27 w 27"/>
                <a:gd name="T23" fmla="*/ 13 h 36"/>
                <a:gd name="T24" fmla="*/ 27 w 27"/>
                <a:gd name="T25" fmla="*/ 36 h 36"/>
                <a:gd name="T26" fmla="*/ 21 w 27"/>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6">
                  <a:moveTo>
                    <a:pt x="21" y="36"/>
                  </a:moveTo>
                  <a:cubicBezTo>
                    <a:pt x="21" y="15"/>
                    <a:pt x="21" y="15"/>
                    <a:pt x="21" y="15"/>
                  </a:cubicBezTo>
                  <a:cubicBezTo>
                    <a:pt x="21" y="10"/>
                    <a:pt x="22" y="5"/>
                    <a:pt x="15" y="5"/>
                  </a:cubicBezTo>
                  <a:cubicBezTo>
                    <a:pt x="12" y="5"/>
                    <a:pt x="9" y="6"/>
                    <a:pt x="5" y="7"/>
                  </a:cubicBezTo>
                  <a:cubicBezTo>
                    <a:pt x="5" y="36"/>
                    <a:pt x="5" y="36"/>
                    <a:pt x="5" y="36"/>
                  </a:cubicBezTo>
                  <a:cubicBezTo>
                    <a:pt x="0" y="36"/>
                    <a:pt x="0" y="36"/>
                    <a:pt x="0" y="36"/>
                  </a:cubicBezTo>
                  <a:cubicBezTo>
                    <a:pt x="0" y="1"/>
                    <a:pt x="0" y="1"/>
                    <a:pt x="0" y="1"/>
                  </a:cubicBezTo>
                  <a:cubicBezTo>
                    <a:pt x="5" y="1"/>
                    <a:pt x="5" y="1"/>
                    <a:pt x="5" y="1"/>
                  </a:cubicBezTo>
                  <a:cubicBezTo>
                    <a:pt x="5" y="4"/>
                    <a:pt x="5" y="4"/>
                    <a:pt x="5" y="4"/>
                  </a:cubicBezTo>
                  <a:cubicBezTo>
                    <a:pt x="10" y="2"/>
                    <a:pt x="14" y="0"/>
                    <a:pt x="17" y="0"/>
                  </a:cubicBezTo>
                  <a:cubicBezTo>
                    <a:pt x="21" y="0"/>
                    <a:pt x="23" y="2"/>
                    <a:pt x="25" y="4"/>
                  </a:cubicBezTo>
                  <a:cubicBezTo>
                    <a:pt x="27" y="6"/>
                    <a:pt x="27" y="7"/>
                    <a:pt x="27" y="13"/>
                  </a:cubicBezTo>
                  <a:cubicBezTo>
                    <a:pt x="27" y="36"/>
                    <a:pt x="27" y="36"/>
                    <a:pt x="27" y="36"/>
                  </a:cubicBezTo>
                  <a:lnTo>
                    <a:pt x="21"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32"/>
            <p:cNvSpPr>
              <a:spLocks noEditPoints="1"/>
            </p:cNvSpPr>
            <p:nvPr userDrawn="1"/>
          </p:nvSpPr>
          <p:spPr bwMode="auto">
            <a:xfrm>
              <a:off x="-1049618" y="899227"/>
              <a:ext cx="80962" cy="152400"/>
            </a:xfrm>
            <a:custGeom>
              <a:avLst/>
              <a:gdLst>
                <a:gd name="T0" fmla="*/ 24 w 29"/>
                <a:gd name="T1" fmla="*/ 53 h 54"/>
                <a:gd name="T2" fmla="*/ 24 w 29"/>
                <a:gd name="T3" fmla="*/ 50 h 54"/>
                <a:gd name="T4" fmla="*/ 12 w 29"/>
                <a:gd name="T5" fmla="*/ 54 h 54"/>
                <a:gd name="T6" fmla="*/ 0 w 29"/>
                <a:gd name="T7" fmla="*/ 36 h 54"/>
                <a:gd name="T8" fmla="*/ 13 w 29"/>
                <a:gd name="T9" fmla="*/ 17 h 54"/>
                <a:gd name="T10" fmla="*/ 24 w 29"/>
                <a:gd name="T11" fmla="*/ 21 h 54"/>
                <a:gd name="T12" fmla="*/ 24 w 29"/>
                <a:gd name="T13" fmla="*/ 0 h 54"/>
                <a:gd name="T14" fmla="*/ 29 w 29"/>
                <a:gd name="T15" fmla="*/ 0 h 54"/>
                <a:gd name="T16" fmla="*/ 29 w 29"/>
                <a:gd name="T17" fmla="*/ 53 h 54"/>
                <a:gd name="T18" fmla="*/ 24 w 29"/>
                <a:gd name="T19" fmla="*/ 53 h 54"/>
                <a:gd name="T20" fmla="*/ 24 w 29"/>
                <a:gd name="T21" fmla="*/ 25 h 54"/>
                <a:gd name="T22" fmla="*/ 14 w 29"/>
                <a:gd name="T23" fmla="*/ 22 h 54"/>
                <a:gd name="T24" fmla="*/ 6 w 29"/>
                <a:gd name="T25" fmla="*/ 35 h 54"/>
                <a:gd name="T26" fmla="*/ 14 w 29"/>
                <a:gd name="T27" fmla="*/ 49 h 54"/>
                <a:gd name="T28" fmla="*/ 24 w 29"/>
                <a:gd name="T29" fmla="*/ 47 h 54"/>
                <a:gd name="T30" fmla="*/ 24 w 29"/>
                <a:gd name="T31" fmla="*/ 2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54">
                  <a:moveTo>
                    <a:pt x="24" y="53"/>
                  </a:moveTo>
                  <a:cubicBezTo>
                    <a:pt x="24" y="50"/>
                    <a:pt x="24" y="50"/>
                    <a:pt x="24" y="50"/>
                  </a:cubicBezTo>
                  <a:cubicBezTo>
                    <a:pt x="19" y="53"/>
                    <a:pt x="15" y="54"/>
                    <a:pt x="12" y="54"/>
                  </a:cubicBezTo>
                  <a:cubicBezTo>
                    <a:pt x="4" y="54"/>
                    <a:pt x="0" y="47"/>
                    <a:pt x="0" y="36"/>
                  </a:cubicBezTo>
                  <a:cubicBezTo>
                    <a:pt x="0" y="25"/>
                    <a:pt x="5" y="17"/>
                    <a:pt x="13" y="17"/>
                  </a:cubicBezTo>
                  <a:cubicBezTo>
                    <a:pt x="17" y="17"/>
                    <a:pt x="20" y="19"/>
                    <a:pt x="24" y="21"/>
                  </a:cubicBezTo>
                  <a:cubicBezTo>
                    <a:pt x="24" y="0"/>
                    <a:pt x="24" y="0"/>
                    <a:pt x="24" y="0"/>
                  </a:cubicBezTo>
                  <a:cubicBezTo>
                    <a:pt x="29" y="0"/>
                    <a:pt x="29" y="0"/>
                    <a:pt x="29" y="0"/>
                  </a:cubicBezTo>
                  <a:cubicBezTo>
                    <a:pt x="29" y="53"/>
                    <a:pt x="29" y="53"/>
                    <a:pt x="29" y="53"/>
                  </a:cubicBezTo>
                  <a:lnTo>
                    <a:pt x="24" y="53"/>
                  </a:lnTo>
                  <a:close/>
                  <a:moveTo>
                    <a:pt x="24" y="25"/>
                  </a:moveTo>
                  <a:cubicBezTo>
                    <a:pt x="18" y="23"/>
                    <a:pt x="17" y="22"/>
                    <a:pt x="14" y="22"/>
                  </a:cubicBezTo>
                  <a:cubicBezTo>
                    <a:pt x="9" y="22"/>
                    <a:pt x="6" y="27"/>
                    <a:pt x="6" y="35"/>
                  </a:cubicBezTo>
                  <a:cubicBezTo>
                    <a:pt x="6" y="45"/>
                    <a:pt x="8" y="49"/>
                    <a:pt x="14" y="49"/>
                  </a:cubicBezTo>
                  <a:cubicBezTo>
                    <a:pt x="16" y="49"/>
                    <a:pt x="19" y="49"/>
                    <a:pt x="24" y="47"/>
                  </a:cubicBezTo>
                  <a:lnTo>
                    <a:pt x="24"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33"/>
            <p:cNvSpPr>
              <a:spLocks noEditPoints="1"/>
            </p:cNvSpPr>
            <p:nvPr userDrawn="1"/>
          </p:nvSpPr>
          <p:spPr bwMode="auto">
            <a:xfrm>
              <a:off x="-943256" y="946852"/>
              <a:ext cx="69850" cy="104775"/>
            </a:xfrm>
            <a:custGeom>
              <a:avLst/>
              <a:gdLst>
                <a:gd name="T0" fmla="*/ 19 w 25"/>
                <a:gd name="T1" fmla="*/ 36 h 37"/>
                <a:gd name="T2" fmla="*/ 19 w 25"/>
                <a:gd name="T3" fmla="*/ 33 h 37"/>
                <a:gd name="T4" fmla="*/ 9 w 25"/>
                <a:gd name="T5" fmla="*/ 37 h 37"/>
                <a:gd name="T6" fmla="*/ 0 w 25"/>
                <a:gd name="T7" fmla="*/ 26 h 37"/>
                <a:gd name="T8" fmla="*/ 6 w 25"/>
                <a:gd name="T9" fmla="*/ 16 h 37"/>
                <a:gd name="T10" fmla="*/ 19 w 25"/>
                <a:gd name="T11" fmla="*/ 15 h 37"/>
                <a:gd name="T12" fmla="*/ 19 w 25"/>
                <a:gd name="T13" fmla="*/ 14 h 37"/>
                <a:gd name="T14" fmla="*/ 13 w 25"/>
                <a:gd name="T15" fmla="*/ 5 h 37"/>
                <a:gd name="T16" fmla="*/ 2 w 25"/>
                <a:gd name="T17" fmla="*/ 7 h 37"/>
                <a:gd name="T18" fmla="*/ 2 w 25"/>
                <a:gd name="T19" fmla="*/ 3 h 37"/>
                <a:gd name="T20" fmla="*/ 15 w 25"/>
                <a:gd name="T21" fmla="*/ 0 h 37"/>
                <a:gd name="T22" fmla="*/ 23 w 25"/>
                <a:gd name="T23" fmla="*/ 3 h 37"/>
                <a:gd name="T24" fmla="*/ 25 w 25"/>
                <a:gd name="T25" fmla="*/ 14 h 37"/>
                <a:gd name="T26" fmla="*/ 25 w 25"/>
                <a:gd name="T27" fmla="*/ 36 h 37"/>
                <a:gd name="T28" fmla="*/ 19 w 25"/>
                <a:gd name="T29" fmla="*/ 36 h 37"/>
                <a:gd name="T30" fmla="*/ 19 w 25"/>
                <a:gd name="T31" fmla="*/ 19 h 37"/>
                <a:gd name="T32" fmla="*/ 5 w 25"/>
                <a:gd name="T33" fmla="*/ 26 h 37"/>
                <a:gd name="T34" fmla="*/ 10 w 25"/>
                <a:gd name="T35" fmla="*/ 32 h 37"/>
                <a:gd name="T36" fmla="*/ 19 w 25"/>
                <a:gd name="T37" fmla="*/ 30 h 37"/>
                <a:gd name="T38" fmla="*/ 19 w 25"/>
                <a:gd name="T3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7">
                  <a:moveTo>
                    <a:pt x="19" y="36"/>
                  </a:moveTo>
                  <a:cubicBezTo>
                    <a:pt x="19" y="33"/>
                    <a:pt x="19" y="33"/>
                    <a:pt x="19" y="33"/>
                  </a:cubicBezTo>
                  <a:cubicBezTo>
                    <a:pt x="15" y="36"/>
                    <a:pt x="12" y="37"/>
                    <a:pt x="9" y="37"/>
                  </a:cubicBezTo>
                  <a:cubicBezTo>
                    <a:pt x="4" y="37"/>
                    <a:pt x="0" y="34"/>
                    <a:pt x="0" y="26"/>
                  </a:cubicBezTo>
                  <a:cubicBezTo>
                    <a:pt x="0" y="20"/>
                    <a:pt x="2" y="17"/>
                    <a:pt x="6" y="16"/>
                  </a:cubicBezTo>
                  <a:cubicBezTo>
                    <a:pt x="9" y="15"/>
                    <a:pt x="12" y="15"/>
                    <a:pt x="19" y="15"/>
                  </a:cubicBezTo>
                  <a:cubicBezTo>
                    <a:pt x="19" y="14"/>
                    <a:pt x="19" y="14"/>
                    <a:pt x="19" y="14"/>
                  </a:cubicBezTo>
                  <a:cubicBezTo>
                    <a:pt x="19" y="8"/>
                    <a:pt x="20" y="5"/>
                    <a:pt x="13" y="5"/>
                  </a:cubicBezTo>
                  <a:cubicBezTo>
                    <a:pt x="10" y="5"/>
                    <a:pt x="7" y="6"/>
                    <a:pt x="2" y="7"/>
                  </a:cubicBezTo>
                  <a:cubicBezTo>
                    <a:pt x="2" y="3"/>
                    <a:pt x="2" y="3"/>
                    <a:pt x="2" y="3"/>
                  </a:cubicBezTo>
                  <a:cubicBezTo>
                    <a:pt x="7" y="1"/>
                    <a:pt x="11" y="0"/>
                    <a:pt x="15" y="0"/>
                  </a:cubicBezTo>
                  <a:cubicBezTo>
                    <a:pt x="19" y="0"/>
                    <a:pt x="21" y="1"/>
                    <a:pt x="23" y="3"/>
                  </a:cubicBezTo>
                  <a:cubicBezTo>
                    <a:pt x="24" y="5"/>
                    <a:pt x="25" y="7"/>
                    <a:pt x="25" y="14"/>
                  </a:cubicBezTo>
                  <a:cubicBezTo>
                    <a:pt x="25" y="36"/>
                    <a:pt x="25" y="36"/>
                    <a:pt x="25" y="36"/>
                  </a:cubicBezTo>
                  <a:lnTo>
                    <a:pt x="19" y="36"/>
                  </a:lnTo>
                  <a:close/>
                  <a:moveTo>
                    <a:pt x="19" y="19"/>
                  </a:moveTo>
                  <a:cubicBezTo>
                    <a:pt x="8" y="20"/>
                    <a:pt x="5" y="21"/>
                    <a:pt x="5" y="26"/>
                  </a:cubicBezTo>
                  <a:cubicBezTo>
                    <a:pt x="5" y="30"/>
                    <a:pt x="7" y="32"/>
                    <a:pt x="10" y="32"/>
                  </a:cubicBezTo>
                  <a:cubicBezTo>
                    <a:pt x="13" y="32"/>
                    <a:pt x="19" y="30"/>
                    <a:pt x="19" y="30"/>
                  </a:cubicBezTo>
                  <a:lnTo>
                    <a:pt x="19"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34"/>
            <p:cNvSpPr>
              <a:spLocks/>
            </p:cNvSpPr>
            <p:nvPr userDrawn="1"/>
          </p:nvSpPr>
          <p:spPr bwMode="auto">
            <a:xfrm>
              <a:off x="-844831" y="950027"/>
              <a:ext cx="47625" cy="98425"/>
            </a:xfrm>
            <a:custGeom>
              <a:avLst/>
              <a:gdLst>
                <a:gd name="T0" fmla="*/ 15 w 17"/>
                <a:gd name="T1" fmla="*/ 5 h 35"/>
                <a:gd name="T2" fmla="*/ 6 w 17"/>
                <a:gd name="T3" fmla="*/ 7 h 35"/>
                <a:gd name="T4" fmla="*/ 6 w 17"/>
                <a:gd name="T5" fmla="*/ 35 h 35"/>
                <a:gd name="T6" fmla="*/ 0 w 17"/>
                <a:gd name="T7" fmla="*/ 35 h 35"/>
                <a:gd name="T8" fmla="*/ 0 w 17"/>
                <a:gd name="T9" fmla="*/ 0 h 35"/>
                <a:gd name="T10" fmla="*/ 5 w 17"/>
                <a:gd name="T11" fmla="*/ 0 h 35"/>
                <a:gd name="T12" fmla="*/ 5 w 17"/>
                <a:gd name="T13" fmla="*/ 3 h 35"/>
                <a:gd name="T14" fmla="*/ 15 w 17"/>
                <a:gd name="T15" fmla="*/ 0 h 35"/>
                <a:gd name="T16" fmla="*/ 17 w 17"/>
                <a:gd name="T17" fmla="*/ 0 h 35"/>
                <a:gd name="T18" fmla="*/ 17 w 17"/>
                <a:gd name="T19" fmla="*/ 5 h 35"/>
                <a:gd name="T20" fmla="*/ 15 w 17"/>
                <a:gd name="T21"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5">
                  <a:moveTo>
                    <a:pt x="15" y="5"/>
                  </a:moveTo>
                  <a:cubicBezTo>
                    <a:pt x="12" y="5"/>
                    <a:pt x="9" y="5"/>
                    <a:pt x="6" y="7"/>
                  </a:cubicBezTo>
                  <a:cubicBezTo>
                    <a:pt x="6" y="35"/>
                    <a:pt x="6" y="35"/>
                    <a:pt x="6" y="35"/>
                  </a:cubicBezTo>
                  <a:cubicBezTo>
                    <a:pt x="0" y="35"/>
                    <a:pt x="0" y="35"/>
                    <a:pt x="0" y="35"/>
                  </a:cubicBezTo>
                  <a:cubicBezTo>
                    <a:pt x="0" y="0"/>
                    <a:pt x="0" y="0"/>
                    <a:pt x="0" y="0"/>
                  </a:cubicBezTo>
                  <a:cubicBezTo>
                    <a:pt x="5" y="0"/>
                    <a:pt x="5" y="0"/>
                    <a:pt x="5" y="0"/>
                  </a:cubicBezTo>
                  <a:cubicBezTo>
                    <a:pt x="5" y="3"/>
                    <a:pt x="5" y="3"/>
                    <a:pt x="5" y="3"/>
                  </a:cubicBezTo>
                  <a:cubicBezTo>
                    <a:pt x="9" y="1"/>
                    <a:pt x="12" y="0"/>
                    <a:pt x="15" y="0"/>
                  </a:cubicBezTo>
                  <a:cubicBezTo>
                    <a:pt x="15" y="0"/>
                    <a:pt x="16" y="0"/>
                    <a:pt x="17" y="0"/>
                  </a:cubicBezTo>
                  <a:cubicBezTo>
                    <a:pt x="17" y="5"/>
                    <a:pt x="17" y="5"/>
                    <a:pt x="17" y="5"/>
                  </a:cubicBezTo>
                  <a:cubicBezTo>
                    <a:pt x="16" y="5"/>
                    <a:pt x="15" y="5"/>
                    <a:pt x="1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35"/>
            <p:cNvSpPr>
              <a:spLocks noEditPoints="1"/>
            </p:cNvSpPr>
            <p:nvPr userDrawn="1"/>
          </p:nvSpPr>
          <p:spPr bwMode="auto">
            <a:xfrm>
              <a:off x="-790856" y="899227"/>
              <a:ext cx="80962" cy="152400"/>
            </a:xfrm>
            <a:custGeom>
              <a:avLst/>
              <a:gdLst>
                <a:gd name="T0" fmla="*/ 24 w 29"/>
                <a:gd name="T1" fmla="*/ 53 h 54"/>
                <a:gd name="T2" fmla="*/ 24 w 29"/>
                <a:gd name="T3" fmla="*/ 50 h 54"/>
                <a:gd name="T4" fmla="*/ 12 w 29"/>
                <a:gd name="T5" fmla="*/ 54 h 54"/>
                <a:gd name="T6" fmla="*/ 0 w 29"/>
                <a:gd name="T7" fmla="*/ 36 h 54"/>
                <a:gd name="T8" fmla="*/ 13 w 29"/>
                <a:gd name="T9" fmla="*/ 17 h 54"/>
                <a:gd name="T10" fmla="*/ 24 w 29"/>
                <a:gd name="T11" fmla="*/ 21 h 54"/>
                <a:gd name="T12" fmla="*/ 24 w 29"/>
                <a:gd name="T13" fmla="*/ 0 h 54"/>
                <a:gd name="T14" fmla="*/ 29 w 29"/>
                <a:gd name="T15" fmla="*/ 0 h 54"/>
                <a:gd name="T16" fmla="*/ 29 w 29"/>
                <a:gd name="T17" fmla="*/ 53 h 54"/>
                <a:gd name="T18" fmla="*/ 24 w 29"/>
                <a:gd name="T19" fmla="*/ 53 h 54"/>
                <a:gd name="T20" fmla="*/ 24 w 29"/>
                <a:gd name="T21" fmla="*/ 25 h 54"/>
                <a:gd name="T22" fmla="*/ 14 w 29"/>
                <a:gd name="T23" fmla="*/ 22 h 54"/>
                <a:gd name="T24" fmla="*/ 6 w 29"/>
                <a:gd name="T25" fmla="*/ 35 h 54"/>
                <a:gd name="T26" fmla="*/ 14 w 29"/>
                <a:gd name="T27" fmla="*/ 49 h 54"/>
                <a:gd name="T28" fmla="*/ 24 w 29"/>
                <a:gd name="T29" fmla="*/ 47 h 54"/>
                <a:gd name="T30" fmla="*/ 24 w 29"/>
                <a:gd name="T31" fmla="*/ 2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54">
                  <a:moveTo>
                    <a:pt x="24" y="53"/>
                  </a:moveTo>
                  <a:cubicBezTo>
                    <a:pt x="24" y="50"/>
                    <a:pt x="24" y="50"/>
                    <a:pt x="24" y="50"/>
                  </a:cubicBezTo>
                  <a:cubicBezTo>
                    <a:pt x="20" y="53"/>
                    <a:pt x="15" y="54"/>
                    <a:pt x="12" y="54"/>
                  </a:cubicBezTo>
                  <a:cubicBezTo>
                    <a:pt x="5" y="54"/>
                    <a:pt x="0" y="47"/>
                    <a:pt x="0" y="36"/>
                  </a:cubicBezTo>
                  <a:cubicBezTo>
                    <a:pt x="0" y="25"/>
                    <a:pt x="5" y="17"/>
                    <a:pt x="13" y="17"/>
                  </a:cubicBezTo>
                  <a:cubicBezTo>
                    <a:pt x="17" y="17"/>
                    <a:pt x="21" y="19"/>
                    <a:pt x="24" y="21"/>
                  </a:cubicBezTo>
                  <a:cubicBezTo>
                    <a:pt x="24" y="0"/>
                    <a:pt x="24" y="0"/>
                    <a:pt x="24" y="0"/>
                  </a:cubicBezTo>
                  <a:cubicBezTo>
                    <a:pt x="29" y="0"/>
                    <a:pt x="29" y="0"/>
                    <a:pt x="29" y="0"/>
                  </a:cubicBezTo>
                  <a:cubicBezTo>
                    <a:pt x="29" y="53"/>
                    <a:pt x="29" y="53"/>
                    <a:pt x="29" y="53"/>
                  </a:cubicBezTo>
                  <a:lnTo>
                    <a:pt x="24" y="53"/>
                  </a:lnTo>
                  <a:close/>
                  <a:moveTo>
                    <a:pt x="24" y="25"/>
                  </a:moveTo>
                  <a:cubicBezTo>
                    <a:pt x="19" y="23"/>
                    <a:pt x="17" y="22"/>
                    <a:pt x="14" y="22"/>
                  </a:cubicBezTo>
                  <a:cubicBezTo>
                    <a:pt x="9" y="22"/>
                    <a:pt x="6" y="27"/>
                    <a:pt x="6" y="35"/>
                  </a:cubicBezTo>
                  <a:cubicBezTo>
                    <a:pt x="6" y="45"/>
                    <a:pt x="9" y="49"/>
                    <a:pt x="14" y="49"/>
                  </a:cubicBezTo>
                  <a:cubicBezTo>
                    <a:pt x="16" y="49"/>
                    <a:pt x="19" y="49"/>
                    <a:pt x="24" y="47"/>
                  </a:cubicBezTo>
                  <a:lnTo>
                    <a:pt x="24"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36"/>
            <p:cNvSpPr>
              <a:spLocks/>
            </p:cNvSpPr>
            <p:nvPr userDrawn="1"/>
          </p:nvSpPr>
          <p:spPr bwMode="auto">
            <a:xfrm>
              <a:off x="-687668" y="946852"/>
              <a:ext cx="65087" cy="104775"/>
            </a:xfrm>
            <a:custGeom>
              <a:avLst/>
              <a:gdLst>
                <a:gd name="T0" fmla="*/ 11 w 23"/>
                <a:gd name="T1" fmla="*/ 37 h 37"/>
                <a:gd name="T2" fmla="*/ 0 w 23"/>
                <a:gd name="T3" fmla="*/ 35 h 37"/>
                <a:gd name="T4" fmla="*/ 1 w 23"/>
                <a:gd name="T5" fmla="*/ 31 h 37"/>
                <a:gd name="T6" fmla="*/ 9 w 23"/>
                <a:gd name="T7" fmla="*/ 32 h 37"/>
                <a:gd name="T8" fmla="*/ 17 w 23"/>
                <a:gd name="T9" fmla="*/ 27 h 37"/>
                <a:gd name="T10" fmla="*/ 11 w 23"/>
                <a:gd name="T11" fmla="*/ 21 h 37"/>
                <a:gd name="T12" fmla="*/ 0 w 23"/>
                <a:gd name="T13" fmla="*/ 11 h 37"/>
                <a:gd name="T14" fmla="*/ 12 w 23"/>
                <a:gd name="T15" fmla="*/ 0 h 37"/>
                <a:gd name="T16" fmla="*/ 21 w 23"/>
                <a:gd name="T17" fmla="*/ 2 h 37"/>
                <a:gd name="T18" fmla="*/ 20 w 23"/>
                <a:gd name="T19" fmla="*/ 6 h 37"/>
                <a:gd name="T20" fmla="*/ 12 w 23"/>
                <a:gd name="T21" fmla="*/ 5 h 37"/>
                <a:gd name="T22" fmla="*/ 6 w 23"/>
                <a:gd name="T23" fmla="*/ 10 h 37"/>
                <a:gd name="T24" fmla="*/ 23 w 23"/>
                <a:gd name="T25" fmla="*/ 26 h 37"/>
                <a:gd name="T26" fmla="*/ 11 w 23"/>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37">
                  <a:moveTo>
                    <a:pt x="11" y="37"/>
                  </a:moveTo>
                  <a:cubicBezTo>
                    <a:pt x="7" y="37"/>
                    <a:pt x="4" y="37"/>
                    <a:pt x="0" y="35"/>
                  </a:cubicBezTo>
                  <a:cubicBezTo>
                    <a:pt x="1" y="31"/>
                    <a:pt x="1" y="31"/>
                    <a:pt x="1" y="31"/>
                  </a:cubicBezTo>
                  <a:cubicBezTo>
                    <a:pt x="5" y="32"/>
                    <a:pt x="7" y="32"/>
                    <a:pt x="9" y="32"/>
                  </a:cubicBezTo>
                  <a:cubicBezTo>
                    <a:pt x="14" y="32"/>
                    <a:pt x="17" y="30"/>
                    <a:pt x="17" y="27"/>
                  </a:cubicBezTo>
                  <a:cubicBezTo>
                    <a:pt x="17" y="24"/>
                    <a:pt x="16" y="22"/>
                    <a:pt x="11" y="21"/>
                  </a:cubicBezTo>
                  <a:cubicBezTo>
                    <a:pt x="5" y="19"/>
                    <a:pt x="0" y="17"/>
                    <a:pt x="0" y="11"/>
                  </a:cubicBezTo>
                  <a:cubicBezTo>
                    <a:pt x="0" y="4"/>
                    <a:pt x="5" y="0"/>
                    <a:pt x="12" y="0"/>
                  </a:cubicBezTo>
                  <a:cubicBezTo>
                    <a:pt x="14" y="0"/>
                    <a:pt x="18" y="1"/>
                    <a:pt x="21" y="2"/>
                  </a:cubicBezTo>
                  <a:cubicBezTo>
                    <a:pt x="20" y="6"/>
                    <a:pt x="20" y="6"/>
                    <a:pt x="20" y="6"/>
                  </a:cubicBezTo>
                  <a:cubicBezTo>
                    <a:pt x="17" y="5"/>
                    <a:pt x="14" y="5"/>
                    <a:pt x="12" y="5"/>
                  </a:cubicBezTo>
                  <a:cubicBezTo>
                    <a:pt x="8" y="5"/>
                    <a:pt x="6" y="7"/>
                    <a:pt x="6" y="10"/>
                  </a:cubicBezTo>
                  <a:cubicBezTo>
                    <a:pt x="6" y="18"/>
                    <a:pt x="23" y="14"/>
                    <a:pt x="23" y="26"/>
                  </a:cubicBezTo>
                  <a:cubicBezTo>
                    <a:pt x="23" y="33"/>
                    <a:pt x="18" y="37"/>
                    <a:pt x="11" y="3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37"/>
            <p:cNvSpPr>
              <a:spLocks noEditPoints="1"/>
            </p:cNvSpPr>
            <p:nvPr userDrawn="1"/>
          </p:nvSpPr>
          <p:spPr bwMode="auto">
            <a:xfrm>
              <a:off x="-1975131" y="1118302"/>
              <a:ext cx="19050" cy="141288"/>
            </a:xfrm>
            <a:custGeom>
              <a:avLst/>
              <a:gdLst>
                <a:gd name="T0" fmla="*/ 4 w 7"/>
                <a:gd name="T1" fmla="*/ 7 h 50"/>
                <a:gd name="T2" fmla="*/ 0 w 7"/>
                <a:gd name="T3" fmla="*/ 3 h 50"/>
                <a:gd name="T4" fmla="*/ 4 w 7"/>
                <a:gd name="T5" fmla="*/ 0 h 50"/>
                <a:gd name="T6" fmla="*/ 7 w 7"/>
                <a:gd name="T7" fmla="*/ 3 h 50"/>
                <a:gd name="T8" fmla="*/ 4 w 7"/>
                <a:gd name="T9" fmla="*/ 7 h 50"/>
                <a:gd name="T10" fmla="*/ 1 w 7"/>
                <a:gd name="T11" fmla="*/ 15 h 50"/>
                <a:gd name="T12" fmla="*/ 7 w 7"/>
                <a:gd name="T13" fmla="*/ 15 h 50"/>
                <a:gd name="T14" fmla="*/ 7 w 7"/>
                <a:gd name="T15" fmla="*/ 50 h 50"/>
                <a:gd name="T16" fmla="*/ 1 w 7"/>
                <a:gd name="T17" fmla="*/ 50 h 50"/>
                <a:gd name="T18" fmla="*/ 1 w 7"/>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4" y="7"/>
                  </a:moveTo>
                  <a:cubicBezTo>
                    <a:pt x="2" y="7"/>
                    <a:pt x="0" y="6"/>
                    <a:pt x="0" y="3"/>
                  </a:cubicBezTo>
                  <a:cubicBezTo>
                    <a:pt x="0" y="2"/>
                    <a:pt x="2" y="0"/>
                    <a:pt x="4" y="0"/>
                  </a:cubicBezTo>
                  <a:cubicBezTo>
                    <a:pt x="6" y="0"/>
                    <a:pt x="7" y="1"/>
                    <a:pt x="7" y="3"/>
                  </a:cubicBezTo>
                  <a:cubicBezTo>
                    <a:pt x="7" y="5"/>
                    <a:pt x="6" y="7"/>
                    <a:pt x="4" y="7"/>
                  </a:cubicBezTo>
                  <a:moveTo>
                    <a:pt x="1" y="15"/>
                  </a:moveTo>
                  <a:cubicBezTo>
                    <a:pt x="7" y="15"/>
                    <a:pt x="7" y="15"/>
                    <a:pt x="7" y="15"/>
                  </a:cubicBezTo>
                  <a:cubicBezTo>
                    <a:pt x="7" y="50"/>
                    <a:pt x="7" y="50"/>
                    <a:pt x="7" y="50"/>
                  </a:cubicBezTo>
                  <a:cubicBezTo>
                    <a:pt x="1" y="50"/>
                    <a:pt x="1" y="50"/>
                    <a:pt x="1" y="50"/>
                  </a:cubicBezTo>
                  <a:lnTo>
                    <a:pt x="1"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38"/>
            <p:cNvSpPr>
              <a:spLocks/>
            </p:cNvSpPr>
            <p:nvPr userDrawn="1"/>
          </p:nvSpPr>
          <p:spPr bwMode="auto">
            <a:xfrm>
              <a:off x="-1927506" y="1157989"/>
              <a:ext cx="122237" cy="101600"/>
            </a:xfrm>
            <a:custGeom>
              <a:avLst/>
              <a:gdLst>
                <a:gd name="T0" fmla="*/ 39 w 44"/>
                <a:gd name="T1" fmla="*/ 36 h 36"/>
                <a:gd name="T2" fmla="*/ 39 w 44"/>
                <a:gd name="T3" fmla="*/ 14 h 36"/>
                <a:gd name="T4" fmla="*/ 34 w 44"/>
                <a:gd name="T5" fmla="*/ 5 h 36"/>
                <a:gd name="T6" fmla="*/ 25 w 44"/>
                <a:gd name="T7" fmla="*/ 7 h 36"/>
                <a:gd name="T8" fmla="*/ 25 w 44"/>
                <a:gd name="T9" fmla="*/ 13 h 36"/>
                <a:gd name="T10" fmla="*/ 25 w 44"/>
                <a:gd name="T11" fmla="*/ 36 h 36"/>
                <a:gd name="T12" fmla="*/ 19 w 44"/>
                <a:gd name="T13" fmla="*/ 36 h 36"/>
                <a:gd name="T14" fmla="*/ 19 w 44"/>
                <a:gd name="T15" fmla="*/ 14 h 36"/>
                <a:gd name="T16" fmla="*/ 14 w 44"/>
                <a:gd name="T17" fmla="*/ 5 h 36"/>
                <a:gd name="T18" fmla="*/ 6 w 44"/>
                <a:gd name="T19" fmla="*/ 7 h 36"/>
                <a:gd name="T20" fmla="*/ 6 w 44"/>
                <a:gd name="T21" fmla="*/ 36 h 36"/>
                <a:gd name="T22" fmla="*/ 0 w 44"/>
                <a:gd name="T23" fmla="*/ 36 h 36"/>
                <a:gd name="T24" fmla="*/ 0 w 44"/>
                <a:gd name="T25" fmla="*/ 1 h 36"/>
                <a:gd name="T26" fmla="*/ 6 w 44"/>
                <a:gd name="T27" fmla="*/ 1 h 36"/>
                <a:gd name="T28" fmla="*/ 6 w 44"/>
                <a:gd name="T29" fmla="*/ 4 h 36"/>
                <a:gd name="T30" fmla="*/ 17 w 44"/>
                <a:gd name="T31" fmla="*/ 0 h 36"/>
                <a:gd name="T32" fmla="*/ 24 w 44"/>
                <a:gd name="T33" fmla="*/ 4 h 36"/>
                <a:gd name="T34" fmla="*/ 36 w 44"/>
                <a:gd name="T35" fmla="*/ 0 h 36"/>
                <a:gd name="T36" fmla="*/ 44 w 44"/>
                <a:gd name="T37" fmla="*/ 13 h 36"/>
                <a:gd name="T38" fmla="*/ 44 w 44"/>
                <a:gd name="T39" fmla="*/ 36 h 36"/>
                <a:gd name="T40" fmla="*/ 39 w 44"/>
                <a:gd name="T4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36">
                  <a:moveTo>
                    <a:pt x="39" y="36"/>
                  </a:moveTo>
                  <a:cubicBezTo>
                    <a:pt x="39" y="14"/>
                    <a:pt x="39" y="14"/>
                    <a:pt x="39" y="14"/>
                  </a:cubicBezTo>
                  <a:cubicBezTo>
                    <a:pt x="39" y="9"/>
                    <a:pt x="39" y="5"/>
                    <a:pt x="34" y="5"/>
                  </a:cubicBezTo>
                  <a:cubicBezTo>
                    <a:pt x="31" y="5"/>
                    <a:pt x="30" y="5"/>
                    <a:pt x="25" y="7"/>
                  </a:cubicBezTo>
                  <a:cubicBezTo>
                    <a:pt x="25" y="9"/>
                    <a:pt x="25" y="11"/>
                    <a:pt x="25" y="13"/>
                  </a:cubicBezTo>
                  <a:cubicBezTo>
                    <a:pt x="25" y="36"/>
                    <a:pt x="25" y="36"/>
                    <a:pt x="25" y="36"/>
                  </a:cubicBezTo>
                  <a:cubicBezTo>
                    <a:pt x="19" y="36"/>
                    <a:pt x="19" y="36"/>
                    <a:pt x="19" y="36"/>
                  </a:cubicBezTo>
                  <a:cubicBezTo>
                    <a:pt x="19" y="14"/>
                    <a:pt x="19" y="14"/>
                    <a:pt x="19" y="14"/>
                  </a:cubicBezTo>
                  <a:cubicBezTo>
                    <a:pt x="19" y="9"/>
                    <a:pt x="20" y="5"/>
                    <a:pt x="14" y="5"/>
                  </a:cubicBezTo>
                  <a:cubicBezTo>
                    <a:pt x="12" y="5"/>
                    <a:pt x="11" y="5"/>
                    <a:pt x="6" y="7"/>
                  </a:cubicBezTo>
                  <a:cubicBezTo>
                    <a:pt x="6" y="36"/>
                    <a:pt x="6" y="36"/>
                    <a:pt x="6" y="36"/>
                  </a:cubicBezTo>
                  <a:cubicBezTo>
                    <a:pt x="0" y="36"/>
                    <a:pt x="0" y="36"/>
                    <a:pt x="0" y="36"/>
                  </a:cubicBezTo>
                  <a:cubicBezTo>
                    <a:pt x="0" y="1"/>
                    <a:pt x="0" y="1"/>
                    <a:pt x="0" y="1"/>
                  </a:cubicBezTo>
                  <a:cubicBezTo>
                    <a:pt x="6" y="1"/>
                    <a:pt x="6" y="1"/>
                    <a:pt x="6" y="1"/>
                  </a:cubicBezTo>
                  <a:cubicBezTo>
                    <a:pt x="6" y="4"/>
                    <a:pt x="6" y="4"/>
                    <a:pt x="6" y="4"/>
                  </a:cubicBezTo>
                  <a:cubicBezTo>
                    <a:pt x="11" y="1"/>
                    <a:pt x="14" y="0"/>
                    <a:pt x="17" y="0"/>
                  </a:cubicBezTo>
                  <a:cubicBezTo>
                    <a:pt x="20" y="0"/>
                    <a:pt x="23" y="1"/>
                    <a:pt x="24" y="4"/>
                  </a:cubicBezTo>
                  <a:cubicBezTo>
                    <a:pt x="27" y="3"/>
                    <a:pt x="32" y="0"/>
                    <a:pt x="36" y="0"/>
                  </a:cubicBezTo>
                  <a:cubicBezTo>
                    <a:pt x="44" y="0"/>
                    <a:pt x="44" y="6"/>
                    <a:pt x="44" y="13"/>
                  </a:cubicBezTo>
                  <a:cubicBezTo>
                    <a:pt x="44" y="36"/>
                    <a:pt x="44" y="36"/>
                    <a:pt x="44" y="36"/>
                  </a:cubicBezTo>
                  <a:lnTo>
                    <a:pt x="39"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39"/>
            <p:cNvSpPr>
              <a:spLocks noEditPoints="1"/>
            </p:cNvSpPr>
            <p:nvPr userDrawn="1"/>
          </p:nvSpPr>
          <p:spPr bwMode="auto">
            <a:xfrm>
              <a:off x="-1776693" y="1157989"/>
              <a:ext cx="84137" cy="142875"/>
            </a:xfrm>
            <a:custGeom>
              <a:avLst/>
              <a:gdLst>
                <a:gd name="T0" fmla="*/ 17 w 30"/>
                <a:gd name="T1" fmla="*/ 37 h 51"/>
                <a:gd name="T2" fmla="*/ 6 w 30"/>
                <a:gd name="T3" fmla="*/ 33 h 51"/>
                <a:gd name="T4" fmla="*/ 6 w 30"/>
                <a:gd name="T5" fmla="*/ 51 h 51"/>
                <a:gd name="T6" fmla="*/ 0 w 30"/>
                <a:gd name="T7" fmla="*/ 51 h 51"/>
                <a:gd name="T8" fmla="*/ 0 w 30"/>
                <a:gd name="T9" fmla="*/ 1 h 51"/>
                <a:gd name="T10" fmla="*/ 6 w 30"/>
                <a:gd name="T11" fmla="*/ 1 h 51"/>
                <a:gd name="T12" fmla="*/ 6 w 30"/>
                <a:gd name="T13" fmla="*/ 4 h 51"/>
                <a:gd name="T14" fmla="*/ 18 w 30"/>
                <a:gd name="T15" fmla="*/ 0 h 51"/>
                <a:gd name="T16" fmla="*/ 30 w 30"/>
                <a:gd name="T17" fmla="*/ 18 h 51"/>
                <a:gd name="T18" fmla="*/ 17 w 30"/>
                <a:gd name="T19" fmla="*/ 37 h 51"/>
                <a:gd name="T20" fmla="*/ 16 w 30"/>
                <a:gd name="T21" fmla="*/ 5 h 51"/>
                <a:gd name="T22" fmla="*/ 6 w 30"/>
                <a:gd name="T23" fmla="*/ 7 h 51"/>
                <a:gd name="T24" fmla="*/ 6 w 30"/>
                <a:gd name="T25" fmla="*/ 29 h 51"/>
                <a:gd name="T26" fmla="*/ 15 w 30"/>
                <a:gd name="T27" fmla="*/ 32 h 51"/>
                <a:gd name="T28" fmla="*/ 24 w 30"/>
                <a:gd name="T29" fmla="*/ 19 h 51"/>
                <a:gd name="T30" fmla="*/ 16 w 30"/>
                <a:gd name="T31"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1">
                  <a:moveTo>
                    <a:pt x="17" y="37"/>
                  </a:moveTo>
                  <a:cubicBezTo>
                    <a:pt x="13" y="37"/>
                    <a:pt x="9" y="35"/>
                    <a:pt x="6" y="33"/>
                  </a:cubicBezTo>
                  <a:cubicBezTo>
                    <a:pt x="6" y="51"/>
                    <a:pt x="6" y="51"/>
                    <a:pt x="6" y="51"/>
                  </a:cubicBezTo>
                  <a:cubicBezTo>
                    <a:pt x="0" y="51"/>
                    <a:pt x="0" y="51"/>
                    <a:pt x="0" y="51"/>
                  </a:cubicBezTo>
                  <a:cubicBezTo>
                    <a:pt x="0" y="1"/>
                    <a:pt x="0" y="1"/>
                    <a:pt x="0" y="1"/>
                  </a:cubicBezTo>
                  <a:cubicBezTo>
                    <a:pt x="6" y="1"/>
                    <a:pt x="6" y="1"/>
                    <a:pt x="6" y="1"/>
                  </a:cubicBezTo>
                  <a:cubicBezTo>
                    <a:pt x="6" y="4"/>
                    <a:pt x="6" y="4"/>
                    <a:pt x="6" y="4"/>
                  </a:cubicBezTo>
                  <a:cubicBezTo>
                    <a:pt x="10" y="1"/>
                    <a:pt x="14" y="0"/>
                    <a:pt x="18" y="0"/>
                  </a:cubicBezTo>
                  <a:cubicBezTo>
                    <a:pt x="25" y="0"/>
                    <a:pt x="30" y="7"/>
                    <a:pt x="30" y="18"/>
                  </a:cubicBezTo>
                  <a:cubicBezTo>
                    <a:pt x="30" y="29"/>
                    <a:pt x="24" y="37"/>
                    <a:pt x="17" y="37"/>
                  </a:cubicBezTo>
                  <a:moveTo>
                    <a:pt x="16" y="5"/>
                  </a:moveTo>
                  <a:cubicBezTo>
                    <a:pt x="13" y="5"/>
                    <a:pt x="11" y="6"/>
                    <a:pt x="6" y="7"/>
                  </a:cubicBezTo>
                  <a:cubicBezTo>
                    <a:pt x="6" y="29"/>
                    <a:pt x="6" y="29"/>
                    <a:pt x="6" y="29"/>
                  </a:cubicBezTo>
                  <a:cubicBezTo>
                    <a:pt x="11" y="31"/>
                    <a:pt x="13" y="32"/>
                    <a:pt x="15" y="32"/>
                  </a:cubicBezTo>
                  <a:cubicBezTo>
                    <a:pt x="21" y="32"/>
                    <a:pt x="24" y="27"/>
                    <a:pt x="24" y="19"/>
                  </a:cubicBezTo>
                  <a:cubicBezTo>
                    <a:pt x="24" y="9"/>
                    <a:pt x="21" y="5"/>
                    <a:pt x="1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40"/>
            <p:cNvSpPr>
              <a:spLocks/>
            </p:cNvSpPr>
            <p:nvPr userDrawn="1"/>
          </p:nvSpPr>
          <p:spPr bwMode="auto">
            <a:xfrm>
              <a:off x="-1670331" y="1157989"/>
              <a:ext cx="46037" cy="101600"/>
            </a:xfrm>
            <a:custGeom>
              <a:avLst/>
              <a:gdLst>
                <a:gd name="T0" fmla="*/ 15 w 16"/>
                <a:gd name="T1" fmla="*/ 5 h 36"/>
                <a:gd name="T2" fmla="*/ 6 w 16"/>
                <a:gd name="T3" fmla="*/ 8 h 36"/>
                <a:gd name="T4" fmla="*/ 6 w 16"/>
                <a:gd name="T5" fmla="*/ 36 h 36"/>
                <a:gd name="T6" fmla="*/ 0 w 16"/>
                <a:gd name="T7" fmla="*/ 36 h 36"/>
                <a:gd name="T8" fmla="*/ 0 w 16"/>
                <a:gd name="T9" fmla="*/ 1 h 36"/>
                <a:gd name="T10" fmla="*/ 5 w 16"/>
                <a:gd name="T11" fmla="*/ 1 h 36"/>
                <a:gd name="T12" fmla="*/ 5 w 16"/>
                <a:gd name="T13" fmla="*/ 4 h 36"/>
                <a:gd name="T14" fmla="*/ 15 w 16"/>
                <a:gd name="T15" fmla="*/ 0 h 36"/>
                <a:gd name="T16" fmla="*/ 16 w 16"/>
                <a:gd name="T17" fmla="*/ 0 h 36"/>
                <a:gd name="T18" fmla="*/ 16 w 16"/>
                <a:gd name="T19" fmla="*/ 6 h 36"/>
                <a:gd name="T20" fmla="*/ 15 w 16"/>
                <a:gd name="T21"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5" y="5"/>
                  </a:moveTo>
                  <a:cubicBezTo>
                    <a:pt x="12" y="5"/>
                    <a:pt x="9" y="6"/>
                    <a:pt x="6" y="8"/>
                  </a:cubicBezTo>
                  <a:cubicBezTo>
                    <a:pt x="6" y="36"/>
                    <a:pt x="6" y="36"/>
                    <a:pt x="6" y="36"/>
                  </a:cubicBezTo>
                  <a:cubicBezTo>
                    <a:pt x="0" y="36"/>
                    <a:pt x="0" y="36"/>
                    <a:pt x="0" y="36"/>
                  </a:cubicBezTo>
                  <a:cubicBezTo>
                    <a:pt x="0" y="1"/>
                    <a:pt x="0" y="1"/>
                    <a:pt x="0" y="1"/>
                  </a:cubicBezTo>
                  <a:cubicBezTo>
                    <a:pt x="5" y="1"/>
                    <a:pt x="5" y="1"/>
                    <a:pt x="5" y="1"/>
                  </a:cubicBezTo>
                  <a:cubicBezTo>
                    <a:pt x="5" y="4"/>
                    <a:pt x="5" y="4"/>
                    <a:pt x="5" y="4"/>
                  </a:cubicBezTo>
                  <a:cubicBezTo>
                    <a:pt x="9" y="1"/>
                    <a:pt x="11" y="0"/>
                    <a:pt x="15" y="0"/>
                  </a:cubicBezTo>
                  <a:cubicBezTo>
                    <a:pt x="15" y="0"/>
                    <a:pt x="16" y="0"/>
                    <a:pt x="16" y="0"/>
                  </a:cubicBezTo>
                  <a:cubicBezTo>
                    <a:pt x="16" y="6"/>
                    <a:pt x="16" y="6"/>
                    <a:pt x="16" y="6"/>
                  </a:cubicBezTo>
                  <a:cubicBezTo>
                    <a:pt x="15" y="5"/>
                    <a:pt x="15" y="5"/>
                    <a:pt x="1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1"/>
            <p:cNvSpPr>
              <a:spLocks noEditPoints="1"/>
            </p:cNvSpPr>
            <p:nvPr userDrawn="1"/>
          </p:nvSpPr>
          <p:spPr bwMode="auto">
            <a:xfrm>
              <a:off x="-1616356" y="1157989"/>
              <a:ext cx="87312" cy="104775"/>
            </a:xfrm>
            <a:custGeom>
              <a:avLst/>
              <a:gdLst>
                <a:gd name="T0" fmla="*/ 16 w 31"/>
                <a:gd name="T1" fmla="*/ 37 h 37"/>
                <a:gd name="T2" fmla="*/ 0 w 31"/>
                <a:gd name="T3" fmla="*/ 18 h 37"/>
                <a:gd name="T4" fmla="*/ 16 w 31"/>
                <a:gd name="T5" fmla="*/ 0 h 37"/>
                <a:gd name="T6" fmla="*/ 31 w 31"/>
                <a:gd name="T7" fmla="*/ 18 h 37"/>
                <a:gd name="T8" fmla="*/ 16 w 31"/>
                <a:gd name="T9" fmla="*/ 37 h 37"/>
                <a:gd name="T10" fmla="*/ 16 w 31"/>
                <a:gd name="T11" fmla="*/ 5 h 37"/>
                <a:gd name="T12" fmla="*/ 6 w 31"/>
                <a:gd name="T13" fmla="*/ 18 h 37"/>
                <a:gd name="T14" fmla="*/ 16 w 31"/>
                <a:gd name="T15" fmla="*/ 32 h 37"/>
                <a:gd name="T16" fmla="*/ 25 w 31"/>
                <a:gd name="T17" fmla="*/ 18 h 37"/>
                <a:gd name="T18" fmla="*/ 16 w 31"/>
                <a:gd name="T19"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7">
                  <a:moveTo>
                    <a:pt x="16" y="37"/>
                  </a:moveTo>
                  <a:cubicBezTo>
                    <a:pt x="6" y="37"/>
                    <a:pt x="0" y="30"/>
                    <a:pt x="0" y="18"/>
                  </a:cubicBezTo>
                  <a:cubicBezTo>
                    <a:pt x="0" y="7"/>
                    <a:pt x="6" y="0"/>
                    <a:pt x="16" y="0"/>
                  </a:cubicBezTo>
                  <a:cubicBezTo>
                    <a:pt x="26" y="0"/>
                    <a:pt x="31" y="6"/>
                    <a:pt x="31" y="18"/>
                  </a:cubicBezTo>
                  <a:cubicBezTo>
                    <a:pt x="31" y="30"/>
                    <a:pt x="26" y="37"/>
                    <a:pt x="16" y="37"/>
                  </a:cubicBezTo>
                  <a:moveTo>
                    <a:pt x="16" y="5"/>
                  </a:moveTo>
                  <a:cubicBezTo>
                    <a:pt x="9" y="5"/>
                    <a:pt x="6" y="9"/>
                    <a:pt x="6" y="18"/>
                  </a:cubicBezTo>
                  <a:cubicBezTo>
                    <a:pt x="6" y="28"/>
                    <a:pt x="9" y="32"/>
                    <a:pt x="16" y="32"/>
                  </a:cubicBezTo>
                  <a:cubicBezTo>
                    <a:pt x="22" y="32"/>
                    <a:pt x="25" y="28"/>
                    <a:pt x="25" y="18"/>
                  </a:cubicBezTo>
                  <a:cubicBezTo>
                    <a:pt x="25" y="9"/>
                    <a:pt x="23" y="5"/>
                    <a:pt x="1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42"/>
            <p:cNvSpPr>
              <a:spLocks/>
            </p:cNvSpPr>
            <p:nvPr userDrawn="1"/>
          </p:nvSpPr>
          <p:spPr bwMode="auto">
            <a:xfrm>
              <a:off x="-1517931" y="1161164"/>
              <a:ext cx="87312" cy="98425"/>
            </a:xfrm>
            <a:custGeom>
              <a:avLst/>
              <a:gdLst>
                <a:gd name="T0" fmla="*/ 33 w 55"/>
                <a:gd name="T1" fmla="*/ 62 h 62"/>
                <a:gd name="T2" fmla="*/ 21 w 55"/>
                <a:gd name="T3" fmla="*/ 62 h 62"/>
                <a:gd name="T4" fmla="*/ 0 w 55"/>
                <a:gd name="T5" fmla="*/ 0 h 62"/>
                <a:gd name="T6" fmla="*/ 10 w 55"/>
                <a:gd name="T7" fmla="*/ 0 h 62"/>
                <a:gd name="T8" fmla="*/ 28 w 55"/>
                <a:gd name="T9" fmla="*/ 53 h 62"/>
                <a:gd name="T10" fmla="*/ 46 w 55"/>
                <a:gd name="T11" fmla="*/ 0 h 62"/>
                <a:gd name="T12" fmla="*/ 55 w 55"/>
                <a:gd name="T13" fmla="*/ 0 h 62"/>
                <a:gd name="T14" fmla="*/ 33 w 55"/>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2">
                  <a:moveTo>
                    <a:pt x="33" y="62"/>
                  </a:moveTo>
                  <a:lnTo>
                    <a:pt x="21" y="62"/>
                  </a:lnTo>
                  <a:lnTo>
                    <a:pt x="0" y="0"/>
                  </a:lnTo>
                  <a:lnTo>
                    <a:pt x="10" y="0"/>
                  </a:lnTo>
                  <a:lnTo>
                    <a:pt x="28" y="53"/>
                  </a:lnTo>
                  <a:lnTo>
                    <a:pt x="46" y="0"/>
                  </a:lnTo>
                  <a:lnTo>
                    <a:pt x="55" y="0"/>
                  </a:lnTo>
                  <a:lnTo>
                    <a:pt x="3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43"/>
            <p:cNvSpPr>
              <a:spLocks noEditPoints="1"/>
            </p:cNvSpPr>
            <p:nvPr userDrawn="1"/>
          </p:nvSpPr>
          <p:spPr bwMode="auto">
            <a:xfrm>
              <a:off x="-1417918" y="1118302"/>
              <a:ext cx="23812" cy="141288"/>
            </a:xfrm>
            <a:custGeom>
              <a:avLst/>
              <a:gdLst>
                <a:gd name="T0" fmla="*/ 4 w 8"/>
                <a:gd name="T1" fmla="*/ 7 h 50"/>
                <a:gd name="T2" fmla="*/ 0 w 8"/>
                <a:gd name="T3" fmla="*/ 3 h 50"/>
                <a:gd name="T4" fmla="*/ 4 w 8"/>
                <a:gd name="T5" fmla="*/ 0 h 50"/>
                <a:gd name="T6" fmla="*/ 8 w 8"/>
                <a:gd name="T7" fmla="*/ 3 h 50"/>
                <a:gd name="T8" fmla="*/ 4 w 8"/>
                <a:gd name="T9" fmla="*/ 7 h 50"/>
                <a:gd name="T10" fmla="*/ 1 w 8"/>
                <a:gd name="T11" fmla="*/ 15 h 50"/>
                <a:gd name="T12" fmla="*/ 7 w 8"/>
                <a:gd name="T13" fmla="*/ 15 h 50"/>
                <a:gd name="T14" fmla="*/ 7 w 8"/>
                <a:gd name="T15" fmla="*/ 50 h 50"/>
                <a:gd name="T16" fmla="*/ 1 w 8"/>
                <a:gd name="T17" fmla="*/ 50 h 50"/>
                <a:gd name="T18" fmla="*/ 1 w 8"/>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50">
                  <a:moveTo>
                    <a:pt x="4" y="7"/>
                  </a:moveTo>
                  <a:cubicBezTo>
                    <a:pt x="2" y="7"/>
                    <a:pt x="0" y="6"/>
                    <a:pt x="0" y="3"/>
                  </a:cubicBezTo>
                  <a:cubicBezTo>
                    <a:pt x="0" y="2"/>
                    <a:pt x="2" y="0"/>
                    <a:pt x="4" y="0"/>
                  </a:cubicBezTo>
                  <a:cubicBezTo>
                    <a:pt x="6" y="0"/>
                    <a:pt x="8" y="1"/>
                    <a:pt x="8" y="3"/>
                  </a:cubicBezTo>
                  <a:cubicBezTo>
                    <a:pt x="8" y="5"/>
                    <a:pt x="6" y="7"/>
                    <a:pt x="4" y="7"/>
                  </a:cubicBezTo>
                  <a:moveTo>
                    <a:pt x="1" y="15"/>
                  </a:moveTo>
                  <a:cubicBezTo>
                    <a:pt x="7" y="15"/>
                    <a:pt x="7" y="15"/>
                    <a:pt x="7" y="15"/>
                  </a:cubicBezTo>
                  <a:cubicBezTo>
                    <a:pt x="7" y="50"/>
                    <a:pt x="7" y="50"/>
                    <a:pt x="7" y="50"/>
                  </a:cubicBezTo>
                  <a:cubicBezTo>
                    <a:pt x="1" y="50"/>
                    <a:pt x="1" y="50"/>
                    <a:pt x="1" y="50"/>
                  </a:cubicBezTo>
                  <a:lnTo>
                    <a:pt x="1"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44"/>
            <p:cNvSpPr>
              <a:spLocks/>
            </p:cNvSpPr>
            <p:nvPr userDrawn="1"/>
          </p:nvSpPr>
          <p:spPr bwMode="auto">
            <a:xfrm>
              <a:off x="-1370293" y="1157989"/>
              <a:ext cx="79375" cy="101600"/>
            </a:xfrm>
            <a:custGeom>
              <a:avLst/>
              <a:gdLst>
                <a:gd name="T0" fmla="*/ 22 w 28"/>
                <a:gd name="T1" fmla="*/ 36 h 36"/>
                <a:gd name="T2" fmla="*/ 22 w 28"/>
                <a:gd name="T3" fmla="*/ 14 h 36"/>
                <a:gd name="T4" fmla="*/ 16 w 28"/>
                <a:gd name="T5" fmla="*/ 5 h 36"/>
                <a:gd name="T6" fmla="*/ 6 w 28"/>
                <a:gd name="T7" fmla="*/ 7 h 36"/>
                <a:gd name="T8" fmla="*/ 6 w 28"/>
                <a:gd name="T9" fmla="*/ 36 h 36"/>
                <a:gd name="T10" fmla="*/ 0 w 28"/>
                <a:gd name="T11" fmla="*/ 36 h 36"/>
                <a:gd name="T12" fmla="*/ 0 w 28"/>
                <a:gd name="T13" fmla="*/ 1 h 36"/>
                <a:gd name="T14" fmla="*/ 6 w 28"/>
                <a:gd name="T15" fmla="*/ 1 h 36"/>
                <a:gd name="T16" fmla="*/ 6 w 28"/>
                <a:gd name="T17" fmla="*/ 4 h 36"/>
                <a:gd name="T18" fmla="*/ 18 w 28"/>
                <a:gd name="T19" fmla="*/ 0 h 36"/>
                <a:gd name="T20" fmla="*/ 26 w 28"/>
                <a:gd name="T21" fmla="*/ 3 h 36"/>
                <a:gd name="T22" fmla="*/ 28 w 28"/>
                <a:gd name="T23" fmla="*/ 13 h 36"/>
                <a:gd name="T24" fmla="*/ 28 w 28"/>
                <a:gd name="T25" fmla="*/ 36 h 36"/>
                <a:gd name="T26" fmla="*/ 22 w 28"/>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6">
                  <a:moveTo>
                    <a:pt x="22" y="36"/>
                  </a:moveTo>
                  <a:cubicBezTo>
                    <a:pt x="22" y="14"/>
                    <a:pt x="22" y="14"/>
                    <a:pt x="22" y="14"/>
                  </a:cubicBezTo>
                  <a:cubicBezTo>
                    <a:pt x="22" y="9"/>
                    <a:pt x="22" y="5"/>
                    <a:pt x="16" y="5"/>
                  </a:cubicBezTo>
                  <a:cubicBezTo>
                    <a:pt x="13" y="5"/>
                    <a:pt x="10" y="6"/>
                    <a:pt x="6" y="7"/>
                  </a:cubicBezTo>
                  <a:cubicBezTo>
                    <a:pt x="6" y="36"/>
                    <a:pt x="6" y="36"/>
                    <a:pt x="6" y="36"/>
                  </a:cubicBezTo>
                  <a:cubicBezTo>
                    <a:pt x="0" y="36"/>
                    <a:pt x="0" y="36"/>
                    <a:pt x="0" y="36"/>
                  </a:cubicBezTo>
                  <a:cubicBezTo>
                    <a:pt x="0" y="1"/>
                    <a:pt x="0" y="1"/>
                    <a:pt x="0" y="1"/>
                  </a:cubicBezTo>
                  <a:cubicBezTo>
                    <a:pt x="6" y="1"/>
                    <a:pt x="6" y="1"/>
                    <a:pt x="6" y="1"/>
                  </a:cubicBezTo>
                  <a:cubicBezTo>
                    <a:pt x="6" y="4"/>
                    <a:pt x="6" y="4"/>
                    <a:pt x="6" y="4"/>
                  </a:cubicBezTo>
                  <a:cubicBezTo>
                    <a:pt x="11" y="1"/>
                    <a:pt x="15" y="0"/>
                    <a:pt x="18" y="0"/>
                  </a:cubicBezTo>
                  <a:cubicBezTo>
                    <a:pt x="22" y="0"/>
                    <a:pt x="24" y="1"/>
                    <a:pt x="26" y="3"/>
                  </a:cubicBezTo>
                  <a:cubicBezTo>
                    <a:pt x="27" y="5"/>
                    <a:pt x="28" y="7"/>
                    <a:pt x="28" y="13"/>
                  </a:cubicBezTo>
                  <a:cubicBezTo>
                    <a:pt x="28" y="36"/>
                    <a:pt x="28" y="36"/>
                    <a:pt x="28" y="36"/>
                  </a:cubicBezTo>
                  <a:lnTo>
                    <a:pt x="22"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45"/>
            <p:cNvSpPr>
              <a:spLocks noEditPoints="1"/>
            </p:cNvSpPr>
            <p:nvPr userDrawn="1"/>
          </p:nvSpPr>
          <p:spPr bwMode="auto">
            <a:xfrm>
              <a:off x="-1268693" y="1157989"/>
              <a:ext cx="80962" cy="146050"/>
            </a:xfrm>
            <a:custGeom>
              <a:avLst/>
              <a:gdLst>
                <a:gd name="T0" fmla="*/ 25 w 29"/>
                <a:gd name="T1" fmla="*/ 49 h 52"/>
                <a:gd name="T2" fmla="*/ 15 w 29"/>
                <a:gd name="T3" fmla="*/ 52 h 52"/>
                <a:gd name="T4" fmla="*/ 2 w 29"/>
                <a:gd name="T5" fmla="*/ 50 h 52"/>
                <a:gd name="T6" fmla="*/ 3 w 29"/>
                <a:gd name="T7" fmla="*/ 46 h 52"/>
                <a:gd name="T8" fmla="*/ 12 w 29"/>
                <a:gd name="T9" fmla="*/ 47 h 52"/>
                <a:gd name="T10" fmla="*/ 22 w 29"/>
                <a:gd name="T11" fmla="*/ 43 h 52"/>
                <a:gd name="T12" fmla="*/ 23 w 29"/>
                <a:gd name="T13" fmla="*/ 34 h 52"/>
                <a:gd name="T14" fmla="*/ 23 w 29"/>
                <a:gd name="T15" fmla="*/ 32 h 52"/>
                <a:gd name="T16" fmla="*/ 12 w 29"/>
                <a:gd name="T17" fmla="*/ 36 h 52"/>
                <a:gd name="T18" fmla="*/ 0 w 29"/>
                <a:gd name="T19" fmla="*/ 18 h 52"/>
                <a:gd name="T20" fmla="*/ 13 w 29"/>
                <a:gd name="T21" fmla="*/ 0 h 52"/>
                <a:gd name="T22" fmla="*/ 23 w 29"/>
                <a:gd name="T23" fmla="*/ 4 h 52"/>
                <a:gd name="T24" fmla="*/ 23 w 29"/>
                <a:gd name="T25" fmla="*/ 1 h 52"/>
                <a:gd name="T26" fmla="*/ 29 w 29"/>
                <a:gd name="T27" fmla="*/ 1 h 52"/>
                <a:gd name="T28" fmla="*/ 29 w 29"/>
                <a:gd name="T29" fmla="*/ 34 h 52"/>
                <a:gd name="T30" fmla="*/ 25 w 29"/>
                <a:gd name="T31" fmla="*/ 49 h 52"/>
                <a:gd name="T32" fmla="*/ 23 w 29"/>
                <a:gd name="T33" fmla="*/ 7 h 52"/>
                <a:gd name="T34" fmla="*/ 14 w 29"/>
                <a:gd name="T35" fmla="*/ 5 h 52"/>
                <a:gd name="T36" fmla="*/ 6 w 29"/>
                <a:gd name="T37" fmla="*/ 18 h 52"/>
                <a:gd name="T38" fmla="*/ 14 w 29"/>
                <a:gd name="T39" fmla="*/ 31 h 52"/>
                <a:gd name="T40" fmla="*/ 23 w 29"/>
                <a:gd name="T41" fmla="*/ 29 h 52"/>
                <a:gd name="T42" fmla="*/ 23 w 29"/>
                <a:gd name="T43"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52">
                  <a:moveTo>
                    <a:pt x="25" y="49"/>
                  </a:moveTo>
                  <a:cubicBezTo>
                    <a:pt x="22" y="51"/>
                    <a:pt x="19" y="52"/>
                    <a:pt x="15" y="52"/>
                  </a:cubicBezTo>
                  <a:cubicBezTo>
                    <a:pt x="12" y="52"/>
                    <a:pt x="8" y="51"/>
                    <a:pt x="2" y="50"/>
                  </a:cubicBezTo>
                  <a:cubicBezTo>
                    <a:pt x="3" y="46"/>
                    <a:pt x="3" y="46"/>
                    <a:pt x="3" y="46"/>
                  </a:cubicBezTo>
                  <a:cubicBezTo>
                    <a:pt x="7" y="47"/>
                    <a:pt x="10" y="47"/>
                    <a:pt x="12" y="47"/>
                  </a:cubicBezTo>
                  <a:cubicBezTo>
                    <a:pt x="17" y="47"/>
                    <a:pt x="21" y="46"/>
                    <a:pt x="22" y="43"/>
                  </a:cubicBezTo>
                  <a:cubicBezTo>
                    <a:pt x="23" y="42"/>
                    <a:pt x="23" y="40"/>
                    <a:pt x="23" y="34"/>
                  </a:cubicBezTo>
                  <a:cubicBezTo>
                    <a:pt x="23" y="32"/>
                    <a:pt x="23" y="32"/>
                    <a:pt x="23" y="32"/>
                  </a:cubicBezTo>
                  <a:cubicBezTo>
                    <a:pt x="19" y="35"/>
                    <a:pt x="15" y="36"/>
                    <a:pt x="12" y="36"/>
                  </a:cubicBezTo>
                  <a:cubicBezTo>
                    <a:pt x="4" y="36"/>
                    <a:pt x="0" y="29"/>
                    <a:pt x="0" y="18"/>
                  </a:cubicBezTo>
                  <a:cubicBezTo>
                    <a:pt x="0" y="7"/>
                    <a:pt x="5" y="0"/>
                    <a:pt x="13" y="0"/>
                  </a:cubicBezTo>
                  <a:cubicBezTo>
                    <a:pt x="16" y="0"/>
                    <a:pt x="20" y="2"/>
                    <a:pt x="23" y="4"/>
                  </a:cubicBezTo>
                  <a:cubicBezTo>
                    <a:pt x="23" y="1"/>
                    <a:pt x="23" y="1"/>
                    <a:pt x="23" y="1"/>
                  </a:cubicBezTo>
                  <a:cubicBezTo>
                    <a:pt x="29" y="1"/>
                    <a:pt x="29" y="1"/>
                    <a:pt x="29" y="1"/>
                  </a:cubicBezTo>
                  <a:cubicBezTo>
                    <a:pt x="29" y="34"/>
                    <a:pt x="29" y="34"/>
                    <a:pt x="29" y="34"/>
                  </a:cubicBezTo>
                  <a:cubicBezTo>
                    <a:pt x="29" y="43"/>
                    <a:pt x="28" y="46"/>
                    <a:pt x="25" y="49"/>
                  </a:cubicBezTo>
                  <a:moveTo>
                    <a:pt x="23" y="7"/>
                  </a:moveTo>
                  <a:cubicBezTo>
                    <a:pt x="18" y="5"/>
                    <a:pt x="17" y="5"/>
                    <a:pt x="14" y="5"/>
                  </a:cubicBezTo>
                  <a:cubicBezTo>
                    <a:pt x="9" y="5"/>
                    <a:pt x="6" y="10"/>
                    <a:pt x="6" y="18"/>
                  </a:cubicBezTo>
                  <a:cubicBezTo>
                    <a:pt x="6" y="27"/>
                    <a:pt x="8" y="31"/>
                    <a:pt x="14" y="31"/>
                  </a:cubicBezTo>
                  <a:cubicBezTo>
                    <a:pt x="16" y="31"/>
                    <a:pt x="18" y="31"/>
                    <a:pt x="23" y="29"/>
                  </a:cubicBezTo>
                  <a:lnTo>
                    <a:pt x="23" y="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Rectangle 46"/>
            <p:cNvSpPr>
              <a:spLocks noChangeArrowheads="1"/>
            </p:cNvSpPr>
            <p:nvPr userDrawn="1"/>
          </p:nvSpPr>
          <p:spPr bwMode="auto">
            <a:xfrm>
              <a:off x="-1105181" y="1110364"/>
              <a:ext cx="15875"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47"/>
            <p:cNvSpPr>
              <a:spLocks noEditPoints="1"/>
            </p:cNvSpPr>
            <p:nvPr userDrawn="1"/>
          </p:nvSpPr>
          <p:spPr bwMode="auto">
            <a:xfrm>
              <a:off x="-1060731" y="1118302"/>
              <a:ext cx="19050" cy="141288"/>
            </a:xfrm>
            <a:custGeom>
              <a:avLst/>
              <a:gdLst>
                <a:gd name="T0" fmla="*/ 3 w 7"/>
                <a:gd name="T1" fmla="*/ 7 h 50"/>
                <a:gd name="T2" fmla="*/ 0 w 7"/>
                <a:gd name="T3" fmla="*/ 3 h 50"/>
                <a:gd name="T4" fmla="*/ 3 w 7"/>
                <a:gd name="T5" fmla="*/ 0 h 50"/>
                <a:gd name="T6" fmla="*/ 7 w 7"/>
                <a:gd name="T7" fmla="*/ 3 h 50"/>
                <a:gd name="T8" fmla="*/ 3 w 7"/>
                <a:gd name="T9" fmla="*/ 7 h 50"/>
                <a:gd name="T10" fmla="*/ 0 w 7"/>
                <a:gd name="T11" fmla="*/ 15 h 50"/>
                <a:gd name="T12" fmla="*/ 6 w 7"/>
                <a:gd name="T13" fmla="*/ 15 h 50"/>
                <a:gd name="T14" fmla="*/ 6 w 7"/>
                <a:gd name="T15" fmla="*/ 50 h 50"/>
                <a:gd name="T16" fmla="*/ 0 w 7"/>
                <a:gd name="T17" fmla="*/ 50 h 50"/>
                <a:gd name="T18" fmla="*/ 0 w 7"/>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3" y="7"/>
                  </a:moveTo>
                  <a:cubicBezTo>
                    <a:pt x="1" y="7"/>
                    <a:pt x="0" y="6"/>
                    <a:pt x="0" y="3"/>
                  </a:cubicBezTo>
                  <a:cubicBezTo>
                    <a:pt x="0" y="2"/>
                    <a:pt x="1" y="0"/>
                    <a:pt x="3" y="0"/>
                  </a:cubicBezTo>
                  <a:cubicBezTo>
                    <a:pt x="5" y="0"/>
                    <a:pt x="7" y="1"/>
                    <a:pt x="7" y="3"/>
                  </a:cubicBezTo>
                  <a:cubicBezTo>
                    <a:pt x="7" y="5"/>
                    <a:pt x="5" y="7"/>
                    <a:pt x="3" y="7"/>
                  </a:cubicBezTo>
                  <a:moveTo>
                    <a:pt x="0" y="15"/>
                  </a:moveTo>
                  <a:cubicBezTo>
                    <a:pt x="6" y="15"/>
                    <a:pt x="6" y="15"/>
                    <a:pt x="6" y="15"/>
                  </a:cubicBezTo>
                  <a:cubicBezTo>
                    <a:pt x="6" y="50"/>
                    <a:pt x="6" y="50"/>
                    <a:pt x="6" y="50"/>
                  </a:cubicBezTo>
                  <a:cubicBezTo>
                    <a:pt x="0" y="50"/>
                    <a:pt x="0" y="50"/>
                    <a:pt x="0" y="50"/>
                  </a:cubicBezTo>
                  <a:lnTo>
                    <a:pt x="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8"/>
            <p:cNvSpPr>
              <a:spLocks/>
            </p:cNvSpPr>
            <p:nvPr userDrawn="1"/>
          </p:nvSpPr>
          <p:spPr bwMode="auto">
            <a:xfrm>
              <a:off x="-1027393" y="1161164"/>
              <a:ext cx="87312" cy="98425"/>
            </a:xfrm>
            <a:custGeom>
              <a:avLst/>
              <a:gdLst>
                <a:gd name="T0" fmla="*/ 34 w 55"/>
                <a:gd name="T1" fmla="*/ 62 h 62"/>
                <a:gd name="T2" fmla="*/ 21 w 55"/>
                <a:gd name="T3" fmla="*/ 62 h 62"/>
                <a:gd name="T4" fmla="*/ 0 w 55"/>
                <a:gd name="T5" fmla="*/ 0 h 62"/>
                <a:gd name="T6" fmla="*/ 11 w 55"/>
                <a:gd name="T7" fmla="*/ 0 h 62"/>
                <a:gd name="T8" fmla="*/ 28 w 55"/>
                <a:gd name="T9" fmla="*/ 53 h 62"/>
                <a:gd name="T10" fmla="*/ 46 w 55"/>
                <a:gd name="T11" fmla="*/ 0 h 62"/>
                <a:gd name="T12" fmla="*/ 55 w 55"/>
                <a:gd name="T13" fmla="*/ 0 h 62"/>
                <a:gd name="T14" fmla="*/ 34 w 55"/>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2">
                  <a:moveTo>
                    <a:pt x="34" y="62"/>
                  </a:moveTo>
                  <a:lnTo>
                    <a:pt x="21" y="62"/>
                  </a:lnTo>
                  <a:lnTo>
                    <a:pt x="0" y="0"/>
                  </a:lnTo>
                  <a:lnTo>
                    <a:pt x="11" y="0"/>
                  </a:lnTo>
                  <a:lnTo>
                    <a:pt x="28" y="53"/>
                  </a:lnTo>
                  <a:lnTo>
                    <a:pt x="46" y="0"/>
                  </a:lnTo>
                  <a:lnTo>
                    <a:pt x="55" y="0"/>
                  </a:lnTo>
                  <a:lnTo>
                    <a:pt x="34"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49"/>
            <p:cNvSpPr>
              <a:spLocks noEditPoints="1"/>
            </p:cNvSpPr>
            <p:nvPr userDrawn="1"/>
          </p:nvSpPr>
          <p:spPr bwMode="auto">
            <a:xfrm>
              <a:off x="-928968" y="1157989"/>
              <a:ext cx="79375" cy="104775"/>
            </a:xfrm>
            <a:custGeom>
              <a:avLst/>
              <a:gdLst>
                <a:gd name="T0" fmla="*/ 6 w 28"/>
                <a:gd name="T1" fmla="*/ 19 h 37"/>
                <a:gd name="T2" fmla="*/ 6 w 28"/>
                <a:gd name="T3" fmla="*/ 20 h 37"/>
                <a:gd name="T4" fmla="*/ 15 w 28"/>
                <a:gd name="T5" fmla="*/ 32 h 37"/>
                <a:gd name="T6" fmla="*/ 27 w 28"/>
                <a:gd name="T7" fmla="*/ 29 h 37"/>
                <a:gd name="T8" fmla="*/ 28 w 28"/>
                <a:gd name="T9" fmla="*/ 32 h 37"/>
                <a:gd name="T10" fmla="*/ 13 w 28"/>
                <a:gd name="T11" fmla="*/ 37 h 37"/>
                <a:gd name="T12" fmla="*/ 0 w 28"/>
                <a:gd name="T13" fmla="*/ 20 h 37"/>
                <a:gd name="T14" fmla="*/ 15 w 28"/>
                <a:gd name="T15" fmla="*/ 0 h 37"/>
                <a:gd name="T16" fmla="*/ 28 w 28"/>
                <a:gd name="T17" fmla="*/ 17 h 37"/>
                <a:gd name="T18" fmla="*/ 28 w 28"/>
                <a:gd name="T19" fmla="*/ 19 h 37"/>
                <a:gd name="T20" fmla="*/ 6 w 28"/>
                <a:gd name="T21" fmla="*/ 19 h 37"/>
                <a:gd name="T22" fmla="*/ 15 w 28"/>
                <a:gd name="T23" fmla="*/ 4 h 37"/>
                <a:gd name="T24" fmla="*/ 6 w 28"/>
                <a:gd name="T25" fmla="*/ 15 h 37"/>
                <a:gd name="T26" fmla="*/ 23 w 28"/>
                <a:gd name="T27" fmla="*/ 15 h 37"/>
                <a:gd name="T28" fmla="*/ 15 w 28"/>
                <a:gd name="T29"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37">
                  <a:moveTo>
                    <a:pt x="6" y="19"/>
                  </a:moveTo>
                  <a:cubicBezTo>
                    <a:pt x="6" y="20"/>
                    <a:pt x="6" y="20"/>
                    <a:pt x="6" y="20"/>
                  </a:cubicBezTo>
                  <a:cubicBezTo>
                    <a:pt x="6" y="28"/>
                    <a:pt x="9" y="32"/>
                    <a:pt x="15" y="32"/>
                  </a:cubicBezTo>
                  <a:cubicBezTo>
                    <a:pt x="18" y="32"/>
                    <a:pt x="21" y="31"/>
                    <a:pt x="27" y="29"/>
                  </a:cubicBezTo>
                  <a:cubicBezTo>
                    <a:pt x="28" y="32"/>
                    <a:pt x="28" y="32"/>
                    <a:pt x="28" y="32"/>
                  </a:cubicBezTo>
                  <a:cubicBezTo>
                    <a:pt x="21" y="36"/>
                    <a:pt x="18" y="37"/>
                    <a:pt x="13" y="37"/>
                  </a:cubicBezTo>
                  <a:cubicBezTo>
                    <a:pt x="5" y="37"/>
                    <a:pt x="0" y="30"/>
                    <a:pt x="0" y="20"/>
                  </a:cubicBezTo>
                  <a:cubicBezTo>
                    <a:pt x="0" y="7"/>
                    <a:pt x="5" y="0"/>
                    <a:pt x="15" y="0"/>
                  </a:cubicBezTo>
                  <a:cubicBezTo>
                    <a:pt x="24" y="0"/>
                    <a:pt x="28" y="6"/>
                    <a:pt x="28" y="17"/>
                  </a:cubicBezTo>
                  <a:cubicBezTo>
                    <a:pt x="28" y="19"/>
                    <a:pt x="28" y="19"/>
                    <a:pt x="28" y="19"/>
                  </a:cubicBezTo>
                  <a:lnTo>
                    <a:pt x="6" y="19"/>
                  </a:lnTo>
                  <a:close/>
                  <a:moveTo>
                    <a:pt x="15" y="4"/>
                  </a:moveTo>
                  <a:cubicBezTo>
                    <a:pt x="10" y="4"/>
                    <a:pt x="7" y="8"/>
                    <a:pt x="6" y="15"/>
                  </a:cubicBezTo>
                  <a:cubicBezTo>
                    <a:pt x="23" y="15"/>
                    <a:pt x="23" y="15"/>
                    <a:pt x="23" y="15"/>
                  </a:cubicBezTo>
                  <a:cubicBezTo>
                    <a:pt x="23" y="7"/>
                    <a:pt x="20" y="4"/>
                    <a:pt x="15"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50"/>
            <p:cNvSpPr>
              <a:spLocks/>
            </p:cNvSpPr>
            <p:nvPr userDrawn="1"/>
          </p:nvSpPr>
          <p:spPr bwMode="auto">
            <a:xfrm>
              <a:off x="-836893" y="1157989"/>
              <a:ext cx="65087" cy="104775"/>
            </a:xfrm>
            <a:custGeom>
              <a:avLst/>
              <a:gdLst>
                <a:gd name="T0" fmla="*/ 11 w 23"/>
                <a:gd name="T1" fmla="*/ 37 h 37"/>
                <a:gd name="T2" fmla="*/ 0 w 23"/>
                <a:gd name="T3" fmla="*/ 35 h 37"/>
                <a:gd name="T4" fmla="*/ 1 w 23"/>
                <a:gd name="T5" fmla="*/ 31 h 37"/>
                <a:gd name="T6" fmla="*/ 9 w 23"/>
                <a:gd name="T7" fmla="*/ 32 h 37"/>
                <a:gd name="T8" fmla="*/ 17 w 23"/>
                <a:gd name="T9" fmla="*/ 26 h 37"/>
                <a:gd name="T10" fmla="*/ 12 w 23"/>
                <a:gd name="T11" fmla="*/ 20 h 37"/>
                <a:gd name="T12" fmla="*/ 0 w 23"/>
                <a:gd name="T13" fmla="*/ 10 h 37"/>
                <a:gd name="T14" fmla="*/ 12 w 23"/>
                <a:gd name="T15" fmla="*/ 0 h 37"/>
                <a:gd name="T16" fmla="*/ 21 w 23"/>
                <a:gd name="T17" fmla="*/ 2 h 37"/>
                <a:gd name="T18" fmla="*/ 20 w 23"/>
                <a:gd name="T19" fmla="*/ 6 h 37"/>
                <a:gd name="T20" fmla="*/ 12 w 23"/>
                <a:gd name="T21" fmla="*/ 4 h 37"/>
                <a:gd name="T22" fmla="*/ 6 w 23"/>
                <a:gd name="T23" fmla="*/ 10 h 37"/>
                <a:gd name="T24" fmla="*/ 23 w 23"/>
                <a:gd name="T25" fmla="*/ 25 h 37"/>
                <a:gd name="T26" fmla="*/ 11 w 23"/>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37">
                  <a:moveTo>
                    <a:pt x="11" y="37"/>
                  </a:moveTo>
                  <a:cubicBezTo>
                    <a:pt x="7" y="37"/>
                    <a:pt x="4" y="36"/>
                    <a:pt x="0" y="35"/>
                  </a:cubicBezTo>
                  <a:cubicBezTo>
                    <a:pt x="1" y="31"/>
                    <a:pt x="1" y="31"/>
                    <a:pt x="1" y="31"/>
                  </a:cubicBezTo>
                  <a:cubicBezTo>
                    <a:pt x="5" y="32"/>
                    <a:pt x="7" y="32"/>
                    <a:pt x="9" y="32"/>
                  </a:cubicBezTo>
                  <a:cubicBezTo>
                    <a:pt x="15" y="32"/>
                    <a:pt x="17" y="30"/>
                    <a:pt x="17" y="26"/>
                  </a:cubicBezTo>
                  <a:cubicBezTo>
                    <a:pt x="17" y="23"/>
                    <a:pt x="16" y="22"/>
                    <a:pt x="12" y="20"/>
                  </a:cubicBezTo>
                  <a:cubicBezTo>
                    <a:pt x="5" y="19"/>
                    <a:pt x="0" y="16"/>
                    <a:pt x="0" y="10"/>
                  </a:cubicBezTo>
                  <a:cubicBezTo>
                    <a:pt x="0" y="4"/>
                    <a:pt x="5" y="0"/>
                    <a:pt x="12" y="0"/>
                  </a:cubicBezTo>
                  <a:cubicBezTo>
                    <a:pt x="15" y="0"/>
                    <a:pt x="18" y="1"/>
                    <a:pt x="21" y="2"/>
                  </a:cubicBezTo>
                  <a:cubicBezTo>
                    <a:pt x="20" y="6"/>
                    <a:pt x="20" y="6"/>
                    <a:pt x="20" y="6"/>
                  </a:cubicBezTo>
                  <a:cubicBezTo>
                    <a:pt x="17" y="5"/>
                    <a:pt x="14" y="4"/>
                    <a:pt x="12" y="4"/>
                  </a:cubicBezTo>
                  <a:cubicBezTo>
                    <a:pt x="8" y="4"/>
                    <a:pt x="6" y="6"/>
                    <a:pt x="6" y="10"/>
                  </a:cubicBezTo>
                  <a:cubicBezTo>
                    <a:pt x="6" y="18"/>
                    <a:pt x="23" y="13"/>
                    <a:pt x="23" y="25"/>
                  </a:cubicBezTo>
                  <a:cubicBezTo>
                    <a:pt x="23" y="32"/>
                    <a:pt x="19" y="37"/>
                    <a:pt x="11" y="3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3" name="AutoShape 56"/>
          <p:cNvSpPr>
            <a:spLocks noChangeAspect="1" noChangeArrowheads="1" noTextEdit="1"/>
          </p:cNvSpPr>
          <p:nvPr userDrawn="1"/>
        </p:nvSpPr>
        <p:spPr bwMode="auto">
          <a:xfrm>
            <a:off x="-2203450" y="1238250"/>
            <a:ext cx="1917700" cy="187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7" name="Group 116"/>
          <p:cNvGrpSpPr/>
          <p:nvPr userDrawn="1"/>
        </p:nvGrpSpPr>
        <p:grpSpPr>
          <a:xfrm>
            <a:off x="9362272" y="3637244"/>
            <a:ext cx="2247909" cy="2201807"/>
            <a:chOff x="-2039938" y="4012733"/>
            <a:chExt cx="1935163" cy="1895475"/>
          </a:xfrm>
        </p:grpSpPr>
        <p:sp>
          <p:nvSpPr>
            <p:cNvPr id="114" name="Freeform 58"/>
            <p:cNvSpPr>
              <a:spLocks noEditPoints="1"/>
            </p:cNvSpPr>
            <p:nvPr userDrawn="1"/>
          </p:nvSpPr>
          <p:spPr bwMode="auto">
            <a:xfrm>
              <a:off x="-1189038" y="4012733"/>
              <a:ext cx="663575" cy="636588"/>
            </a:xfrm>
            <a:custGeom>
              <a:avLst/>
              <a:gdLst>
                <a:gd name="T0" fmla="*/ 94 w 237"/>
                <a:gd name="T1" fmla="*/ 55 h 227"/>
                <a:gd name="T2" fmla="*/ 102 w 237"/>
                <a:gd name="T3" fmla="*/ 28 h 227"/>
                <a:gd name="T4" fmla="*/ 93 w 237"/>
                <a:gd name="T5" fmla="*/ 13 h 227"/>
                <a:gd name="T6" fmla="*/ 67 w 237"/>
                <a:gd name="T7" fmla="*/ 5 h 227"/>
                <a:gd name="T8" fmla="*/ 59 w 237"/>
                <a:gd name="T9" fmla="*/ 32 h 227"/>
                <a:gd name="T10" fmla="*/ 67 w 237"/>
                <a:gd name="T11" fmla="*/ 47 h 227"/>
                <a:gd name="T12" fmla="*/ 94 w 237"/>
                <a:gd name="T13" fmla="*/ 55 h 227"/>
                <a:gd name="T14" fmla="*/ 205 w 237"/>
                <a:gd name="T15" fmla="*/ 15 h 227"/>
                <a:gd name="T16" fmla="*/ 177 w 237"/>
                <a:gd name="T17" fmla="*/ 16 h 227"/>
                <a:gd name="T18" fmla="*/ 112 w 237"/>
                <a:gd name="T19" fmla="*/ 86 h 227"/>
                <a:gd name="T20" fmla="*/ 18 w 237"/>
                <a:gd name="T21" fmla="*/ 104 h 227"/>
                <a:gd name="T22" fmla="*/ 2 w 237"/>
                <a:gd name="T23" fmla="*/ 128 h 227"/>
                <a:gd name="T24" fmla="*/ 25 w 237"/>
                <a:gd name="T25" fmla="*/ 143 h 227"/>
                <a:gd name="T26" fmla="*/ 99 w 237"/>
                <a:gd name="T27" fmla="*/ 129 h 227"/>
                <a:gd name="T28" fmla="*/ 89 w 237"/>
                <a:gd name="T29" fmla="*/ 203 h 227"/>
                <a:gd name="T30" fmla="*/ 107 w 237"/>
                <a:gd name="T31" fmla="*/ 225 h 227"/>
                <a:gd name="T32" fmla="*/ 129 w 237"/>
                <a:gd name="T33" fmla="*/ 208 h 227"/>
                <a:gd name="T34" fmla="*/ 138 w 237"/>
                <a:gd name="T35" fmla="*/ 134 h 227"/>
                <a:gd name="T36" fmla="*/ 206 w 237"/>
                <a:gd name="T37" fmla="*/ 166 h 227"/>
                <a:gd name="T38" fmla="*/ 232 w 237"/>
                <a:gd name="T39" fmla="*/ 156 h 227"/>
                <a:gd name="T40" fmla="*/ 223 w 237"/>
                <a:gd name="T41" fmla="*/ 130 h 227"/>
                <a:gd name="T42" fmla="*/ 155 w 237"/>
                <a:gd name="T43" fmla="*/ 98 h 227"/>
                <a:gd name="T44" fmla="*/ 206 w 237"/>
                <a:gd name="T45" fmla="*/ 43 h 227"/>
                <a:gd name="T46" fmla="*/ 205 w 237"/>
                <a:gd name="T47" fmla="*/ 1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7" h="227">
                  <a:moveTo>
                    <a:pt x="94" y="55"/>
                  </a:moveTo>
                  <a:cubicBezTo>
                    <a:pt x="104" y="50"/>
                    <a:pt x="107" y="38"/>
                    <a:pt x="102" y="28"/>
                  </a:cubicBezTo>
                  <a:cubicBezTo>
                    <a:pt x="93" y="13"/>
                    <a:pt x="93" y="13"/>
                    <a:pt x="93" y="13"/>
                  </a:cubicBezTo>
                  <a:cubicBezTo>
                    <a:pt x="88" y="3"/>
                    <a:pt x="76" y="0"/>
                    <a:pt x="67" y="5"/>
                  </a:cubicBezTo>
                  <a:cubicBezTo>
                    <a:pt x="57" y="10"/>
                    <a:pt x="54" y="23"/>
                    <a:pt x="59" y="32"/>
                  </a:cubicBezTo>
                  <a:cubicBezTo>
                    <a:pt x="67" y="47"/>
                    <a:pt x="67" y="47"/>
                    <a:pt x="67" y="47"/>
                  </a:cubicBezTo>
                  <a:cubicBezTo>
                    <a:pt x="73" y="57"/>
                    <a:pt x="85" y="61"/>
                    <a:pt x="94" y="55"/>
                  </a:cubicBezTo>
                  <a:moveTo>
                    <a:pt x="205" y="15"/>
                  </a:moveTo>
                  <a:cubicBezTo>
                    <a:pt x="197" y="8"/>
                    <a:pt x="184" y="8"/>
                    <a:pt x="177" y="16"/>
                  </a:cubicBezTo>
                  <a:cubicBezTo>
                    <a:pt x="112" y="86"/>
                    <a:pt x="112" y="86"/>
                    <a:pt x="112" y="86"/>
                  </a:cubicBezTo>
                  <a:cubicBezTo>
                    <a:pt x="18" y="104"/>
                    <a:pt x="18" y="104"/>
                    <a:pt x="18" y="104"/>
                  </a:cubicBezTo>
                  <a:cubicBezTo>
                    <a:pt x="7" y="107"/>
                    <a:pt x="0" y="117"/>
                    <a:pt x="2" y="128"/>
                  </a:cubicBezTo>
                  <a:cubicBezTo>
                    <a:pt x="4" y="138"/>
                    <a:pt x="15" y="145"/>
                    <a:pt x="25" y="143"/>
                  </a:cubicBezTo>
                  <a:cubicBezTo>
                    <a:pt x="99" y="129"/>
                    <a:pt x="99" y="129"/>
                    <a:pt x="99" y="129"/>
                  </a:cubicBezTo>
                  <a:cubicBezTo>
                    <a:pt x="89" y="203"/>
                    <a:pt x="89" y="203"/>
                    <a:pt x="89" y="203"/>
                  </a:cubicBezTo>
                  <a:cubicBezTo>
                    <a:pt x="88" y="214"/>
                    <a:pt x="96" y="224"/>
                    <a:pt x="107" y="225"/>
                  </a:cubicBezTo>
                  <a:cubicBezTo>
                    <a:pt x="118" y="227"/>
                    <a:pt x="128" y="219"/>
                    <a:pt x="129" y="208"/>
                  </a:cubicBezTo>
                  <a:cubicBezTo>
                    <a:pt x="138" y="134"/>
                    <a:pt x="138" y="134"/>
                    <a:pt x="138" y="134"/>
                  </a:cubicBezTo>
                  <a:cubicBezTo>
                    <a:pt x="206" y="166"/>
                    <a:pt x="206" y="166"/>
                    <a:pt x="206" y="166"/>
                  </a:cubicBezTo>
                  <a:cubicBezTo>
                    <a:pt x="216" y="170"/>
                    <a:pt x="227" y="166"/>
                    <a:pt x="232" y="156"/>
                  </a:cubicBezTo>
                  <a:cubicBezTo>
                    <a:pt x="237" y="146"/>
                    <a:pt x="232" y="134"/>
                    <a:pt x="223" y="130"/>
                  </a:cubicBezTo>
                  <a:cubicBezTo>
                    <a:pt x="155" y="98"/>
                    <a:pt x="155" y="98"/>
                    <a:pt x="155" y="98"/>
                  </a:cubicBezTo>
                  <a:cubicBezTo>
                    <a:pt x="206" y="43"/>
                    <a:pt x="206" y="43"/>
                    <a:pt x="206" y="43"/>
                  </a:cubicBezTo>
                  <a:cubicBezTo>
                    <a:pt x="213" y="35"/>
                    <a:pt x="213" y="23"/>
                    <a:pt x="205" y="1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59"/>
            <p:cNvSpPr>
              <a:spLocks noEditPoints="1"/>
            </p:cNvSpPr>
            <p:nvPr userDrawn="1"/>
          </p:nvSpPr>
          <p:spPr bwMode="auto">
            <a:xfrm>
              <a:off x="-2039938" y="4474695"/>
              <a:ext cx="965200" cy="925513"/>
            </a:xfrm>
            <a:custGeom>
              <a:avLst/>
              <a:gdLst>
                <a:gd name="T0" fmla="*/ 137 w 344"/>
                <a:gd name="T1" fmla="*/ 80 h 330"/>
                <a:gd name="T2" fmla="*/ 148 w 344"/>
                <a:gd name="T3" fmla="*/ 41 h 330"/>
                <a:gd name="T4" fmla="*/ 136 w 344"/>
                <a:gd name="T5" fmla="*/ 19 h 330"/>
                <a:gd name="T6" fmla="*/ 97 w 344"/>
                <a:gd name="T7" fmla="*/ 7 h 330"/>
                <a:gd name="T8" fmla="*/ 85 w 344"/>
                <a:gd name="T9" fmla="*/ 47 h 330"/>
                <a:gd name="T10" fmla="*/ 98 w 344"/>
                <a:gd name="T11" fmla="*/ 69 h 330"/>
                <a:gd name="T12" fmla="*/ 137 w 344"/>
                <a:gd name="T13" fmla="*/ 80 h 330"/>
                <a:gd name="T14" fmla="*/ 298 w 344"/>
                <a:gd name="T15" fmla="*/ 22 h 330"/>
                <a:gd name="T16" fmla="*/ 257 w 344"/>
                <a:gd name="T17" fmla="*/ 24 h 330"/>
                <a:gd name="T18" fmla="*/ 163 w 344"/>
                <a:gd name="T19" fmla="*/ 125 h 330"/>
                <a:gd name="T20" fmla="*/ 26 w 344"/>
                <a:gd name="T21" fmla="*/ 152 h 330"/>
                <a:gd name="T22" fmla="*/ 3 w 344"/>
                <a:gd name="T23" fmla="*/ 185 h 330"/>
                <a:gd name="T24" fmla="*/ 37 w 344"/>
                <a:gd name="T25" fmla="*/ 208 h 330"/>
                <a:gd name="T26" fmla="*/ 143 w 344"/>
                <a:gd name="T27" fmla="*/ 187 h 330"/>
                <a:gd name="T28" fmla="*/ 130 w 344"/>
                <a:gd name="T29" fmla="*/ 296 h 330"/>
                <a:gd name="T30" fmla="*/ 155 w 344"/>
                <a:gd name="T31" fmla="*/ 328 h 330"/>
                <a:gd name="T32" fmla="*/ 187 w 344"/>
                <a:gd name="T33" fmla="*/ 303 h 330"/>
                <a:gd name="T34" fmla="*/ 201 w 344"/>
                <a:gd name="T35" fmla="*/ 195 h 330"/>
                <a:gd name="T36" fmla="*/ 299 w 344"/>
                <a:gd name="T37" fmla="*/ 241 h 330"/>
                <a:gd name="T38" fmla="*/ 337 w 344"/>
                <a:gd name="T39" fmla="*/ 227 h 330"/>
                <a:gd name="T40" fmla="*/ 323 w 344"/>
                <a:gd name="T41" fmla="*/ 188 h 330"/>
                <a:gd name="T42" fmla="*/ 225 w 344"/>
                <a:gd name="T43" fmla="*/ 143 h 330"/>
                <a:gd name="T44" fmla="*/ 299 w 344"/>
                <a:gd name="T45" fmla="*/ 63 h 330"/>
                <a:gd name="T46" fmla="*/ 298 w 344"/>
                <a:gd name="T47" fmla="*/ 2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4" h="330">
                  <a:moveTo>
                    <a:pt x="137" y="80"/>
                  </a:moveTo>
                  <a:cubicBezTo>
                    <a:pt x="151" y="72"/>
                    <a:pt x="156" y="55"/>
                    <a:pt x="148" y="41"/>
                  </a:cubicBezTo>
                  <a:cubicBezTo>
                    <a:pt x="136" y="19"/>
                    <a:pt x="136" y="19"/>
                    <a:pt x="136" y="19"/>
                  </a:cubicBezTo>
                  <a:cubicBezTo>
                    <a:pt x="128" y="5"/>
                    <a:pt x="111" y="0"/>
                    <a:pt x="97" y="7"/>
                  </a:cubicBezTo>
                  <a:cubicBezTo>
                    <a:pt x="83" y="15"/>
                    <a:pt x="78" y="33"/>
                    <a:pt x="85" y="47"/>
                  </a:cubicBezTo>
                  <a:cubicBezTo>
                    <a:pt x="98" y="69"/>
                    <a:pt x="98" y="69"/>
                    <a:pt x="98" y="69"/>
                  </a:cubicBezTo>
                  <a:cubicBezTo>
                    <a:pt x="106" y="83"/>
                    <a:pt x="123" y="88"/>
                    <a:pt x="137" y="80"/>
                  </a:cubicBezTo>
                  <a:moveTo>
                    <a:pt x="298" y="22"/>
                  </a:moveTo>
                  <a:cubicBezTo>
                    <a:pt x="286" y="11"/>
                    <a:pt x="268" y="12"/>
                    <a:pt x="257" y="24"/>
                  </a:cubicBezTo>
                  <a:cubicBezTo>
                    <a:pt x="163" y="125"/>
                    <a:pt x="163" y="125"/>
                    <a:pt x="163" y="125"/>
                  </a:cubicBezTo>
                  <a:cubicBezTo>
                    <a:pt x="26" y="152"/>
                    <a:pt x="26" y="152"/>
                    <a:pt x="26" y="152"/>
                  </a:cubicBezTo>
                  <a:cubicBezTo>
                    <a:pt x="10" y="155"/>
                    <a:pt x="0" y="170"/>
                    <a:pt x="3" y="185"/>
                  </a:cubicBezTo>
                  <a:cubicBezTo>
                    <a:pt x="6" y="201"/>
                    <a:pt x="21" y="211"/>
                    <a:pt x="37" y="208"/>
                  </a:cubicBezTo>
                  <a:cubicBezTo>
                    <a:pt x="143" y="187"/>
                    <a:pt x="143" y="187"/>
                    <a:pt x="143" y="187"/>
                  </a:cubicBezTo>
                  <a:cubicBezTo>
                    <a:pt x="130" y="296"/>
                    <a:pt x="130" y="296"/>
                    <a:pt x="130" y="296"/>
                  </a:cubicBezTo>
                  <a:cubicBezTo>
                    <a:pt x="128" y="311"/>
                    <a:pt x="139" y="326"/>
                    <a:pt x="155" y="328"/>
                  </a:cubicBezTo>
                  <a:cubicBezTo>
                    <a:pt x="171" y="330"/>
                    <a:pt x="185" y="318"/>
                    <a:pt x="187" y="303"/>
                  </a:cubicBezTo>
                  <a:cubicBezTo>
                    <a:pt x="201" y="195"/>
                    <a:pt x="201" y="195"/>
                    <a:pt x="201" y="195"/>
                  </a:cubicBezTo>
                  <a:cubicBezTo>
                    <a:pt x="299" y="241"/>
                    <a:pt x="299" y="241"/>
                    <a:pt x="299" y="241"/>
                  </a:cubicBezTo>
                  <a:cubicBezTo>
                    <a:pt x="314" y="247"/>
                    <a:pt x="331" y="241"/>
                    <a:pt x="337" y="227"/>
                  </a:cubicBezTo>
                  <a:cubicBezTo>
                    <a:pt x="344" y="212"/>
                    <a:pt x="338" y="195"/>
                    <a:pt x="323" y="188"/>
                  </a:cubicBezTo>
                  <a:cubicBezTo>
                    <a:pt x="225" y="143"/>
                    <a:pt x="225" y="143"/>
                    <a:pt x="225" y="143"/>
                  </a:cubicBezTo>
                  <a:cubicBezTo>
                    <a:pt x="299" y="63"/>
                    <a:pt x="299" y="63"/>
                    <a:pt x="299" y="63"/>
                  </a:cubicBezTo>
                  <a:cubicBezTo>
                    <a:pt x="310" y="51"/>
                    <a:pt x="309" y="33"/>
                    <a:pt x="298" y="2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60"/>
            <p:cNvSpPr>
              <a:spLocks noEditPoints="1"/>
            </p:cNvSpPr>
            <p:nvPr userDrawn="1"/>
          </p:nvSpPr>
          <p:spPr bwMode="auto">
            <a:xfrm>
              <a:off x="-1198563" y="4825533"/>
              <a:ext cx="1093788" cy="1082675"/>
            </a:xfrm>
            <a:custGeom>
              <a:avLst/>
              <a:gdLst>
                <a:gd name="T0" fmla="*/ 168 w 390"/>
                <a:gd name="T1" fmla="*/ 96 h 386"/>
                <a:gd name="T2" fmla="*/ 185 w 390"/>
                <a:gd name="T3" fmla="*/ 52 h 386"/>
                <a:gd name="T4" fmla="*/ 174 w 390"/>
                <a:gd name="T5" fmla="*/ 25 h 386"/>
                <a:gd name="T6" fmla="*/ 130 w 390"/>
                <a:gd name="T7" fmla="*/ 8 h 386"/>
                <a:gd name="T8" fmla="*/ 112 w 390"/>
                <a:gd name="T9" fmla="*/ 51 h 386"/>
                <a:gd name="T10" fmla="*/ 124 w 390"/>
                <a:gd name="T11" fmla="*/ 78 h 386"/>
                <a:gd name="T12" fmla="*/ 168 w 390"/>
                <a:gd name="T13" fmla="*/ 96 h 386"/>
                <a:gd name="T14" fmla="*/ 359 w 390"/>
                <a:gd name="T15" fmla="*/ 48 h 386"/>
                <a:gd name="T16" fmla="*/ 312 w 390"/>
                <a:gd name="T17" fmla="*/ 45 h 386"/>
                <a:gd name="T18" fmla="*/ 192 w 390"/>
                <a:gd name="T19" fmla="*/ 150 h 386"/>
                <a:gd name="T20" fmla="*/ 32 w 390"/>
                <a:gd name="T21" fmla="*/ 165 h 386"/>
                <a:gd name="T22" fmla="*/ 2 w 390"/>
                <a:gd name="T23" fmla="*/ 201 h 386"/>
                <a:gd name="T24" fmla="*/ 38 w 390"/>
                <a:gd name="T25" fmla="*/ 231 h 386"/>
                <a:gd name="T26" fmla="*/ 163 w 390"/>
                <a:gd name="T27" fmla="*/ 220 h 386"/>
                <a:gd name="T28" fmla="*/ 135 w 390"/>
                <a:gd name="T29" fmla="*/ 342 h 386"/>
                <a:gd name="T30" fmla="*/ 160 w 390"/>
                <a:gd name="T31" fmla="*/ 382 h 386"/>
                <a:gd name="T32" fmla="*/ 200 w 390"/>
                <a:gd name="T33" fmla="*/ 357 h 386"/>
                <a:gd name="T34" fmla="*/ 227 w 390"/>
                <a:gd name="T35" fmla="*/ 235 h 386"/>
                <a:gd name="T36" fmla="*/ 335 w 390"/>
                <a:gd name="T37" fmla="*/ 299 h 386"/>
                <a:gd name="T38" fmla="*/ 381 w 390"/>
                <a:gd name="T39" fmla="*/ 287 h 386"/>
                <a:gd name="T40" fmla="*/ 369 w 390"/>
                <a:gd name="T41" fmla="*/ 242 h 386"/>
                <a:gd name="T42" fmla="*/ 262 w 390"/>
                <a:gd name="T43" fmla="*/ 178 h 386"/>
                <a:gd name="T44" fmla="*/ 356 w 390"/>
                <a:gd name="T45" fmla="*/ 95 h 386"/>
                <a:gd name="T46" fmla="*/ 359 w 390"/>
                <a:gd name="T47" fmla="*/ 4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386">
                  <a:moveTo>
                    <a:pt x="168" y="96"/>
                  </a:moveTo>
                  <a:cubicBezTo>
                    <a:pt x="185" y="89"/>
                    <a:pt x="192" y="69"/>
                    <a:pt x="185" y="52"/>
                  </a:cubicBezTo>
                  <a:cubicBezTo>
                    <a:pt x="174" y="25"/>
                    <a:pt x="174" y="25"/>
                    <a:pt x="174" y="25"/>
                  </a:cubicBezTo>
                  <a:cubicBezTo>
                    <a:pt x="166" y="8"/>
                    <a:pt x="147" y="0"/>
                    <a:pt x="130" y="8"/>
                  </a:cubicBezTo>
                  <a:cubicBezTo>
                    <a:pt x="113" y="15"/>
                    <a:pt x="105" y="35"/>
                    <a:pt x="112" y="51"/>
                  </a:cubicBezTo>
                  <a:cubicBezTo>
                    <a:pt x="124" y="78"/>
                    <a:pt x="124" y="78"/>
                    <a:pt x="124" y="78"/>
                  </a:cubicBezTo>
                  <a:cubicBezTo>
                    <a:pt x="131" y="95"/>
                    <a:pt x="151" y="103"/>
                    <a:pt x="168" y="96"/>
                  </a:cubicBezTo>
                  <a:moveTo>
                    <a:pt x="359" y="48"/>
                  </a:moveTo>
                  <a:cubicBezTo>
                    <a:pt x="347" y="34"/>
                    <a:pt x="326" y="33"/>
                    <a:pt x="312" y="45"/>
                  </a:cubicBezTo>
                  <a:cubicBezTo>
                    <a:pt x="192" y="150"/>
                    <a:pt x="192" y="150"/>
                    <a:pt x="192" y="150"/>
                  </a:cubicBezTo>
                  <a:cubicBezTo>
                    <a:pt x="32" y="165"/>
                    <a:pt x="32" y="165"/>
                    <a:pt x="32" y="165"/>
                  </a:cubicBezTo>
                  <a:cubicBezTo>
                    <a:pt x="13" y="167"/>
                    <a:pt x="0" y="183"/>
                    <a:pt x="2" y="201"/>
                  </a:cubicBezTo>
                  <a:cubicBezTo>
                    <a:pt x="3" y="220"/>
                    <a:pt x="19" y="233"/>
                    <a:pt x="38" y="231"/>
                  </a:cubicBezTo>
                  <a:cubicBezTo>
                    <a:pt x="163" y="220"/>
                    <a:pt x="163" y="220"/>
                    <a:pt x="163" y="220"/>
                  </a:cubicBezTo>
                  <a:cubicBezTo>
                    <a:pt x="135" y="342"/>
                    <a:pt x="135" y="342"/>
                    <a:pt x="135" y="342"/>
                  </a:cubicBezTo>
                  <a:cubicBezTo>
                    <a:pt x="131" y="360"/>
                    <a:pt x="142" y="378"/>
                    <a:pt x="160" y="382"/>
                  </a:cubicBezTo>
                  <a:cubicBezTo>
                    <a:pt x="178" y="386"/>
                    <a:pt x="196" y="375"/>
                    <a:pt x="200" y="357"/>
                  </a:cubicBezTo>
                  <a:cubicBezTo>
                    <a:pt x="227" y="235"/>
                    <a:pt x="227" y="235"/>
                    <a:pt x="227" y="235"/>
                  </a:cubicBezTo>
                  <a:cubicBezTo>
                    <a:pt x="335" y="299"/>
                    <a:pt x="335" y="299"/>
                    <a:pt x="335" y="299"/>
                  </a:cubicBezTo>
                  <a:cubicBezTo>
                    <a:pt x="351" y="308"/>
                    <a:pt x="371" y="303"/>
                    <a:pt x="381" y="287"/>
                  </a:cubicBezTo>
                  <a:cubicBezTo>
                    <a:pt x="390" y="272"/>
                    <a:pt x="385" y="251"/>
                    <a:pt x="369" y="242"/>
                  </a:cubicBezTo>
                  <a:cubicBezTo>
                    <a:pt x="262" y="178"/>
                    <a:pt x="262" y="178"/>
                    <a:pt x="262" y="178"/>
                  </a:cubicBezTo>
                  <a:cubicBezTo>
                    <a:pt x="356" y="95"/>
                    <a:pt x="356" y="95"/>
                    <a:pt x="356" y="95"/>
                  </a:cubicBezTo>
                  <a:cubicBezTo>
                    <a:pt x="370" y="83"/>
                    <a:pt x="371" y="62"/>
                    <a:pt x="359" y="4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18" name="Date Placeholder 3"/>
          <p:cNvSpPr>
            <a:spLocks noGrp="1"/>
          </p:cNvSpPr>
          <p:nvPr>
            <p:ph type="dt" sz="half" idx="2"/>
          </p:nvPr>
        </p:nvSpPr>
        <p:spPr>
          <a:xfrm>
            <a:off x="8271434" y="6434038"/>
            <a:ext cx="1945715" cy="365125"/>
          </a:xfrm>
          <a:prstGeom prst="rect">
            <a:avLst/>
          </a:prstGeom>
        </p:spPr>
        <p:txBody>
          <a:bodyPr anchor="ctr"/>
          <a:lstStyle>
            <a:lvl1pPr algn="r">
              <a:defRPr sz="1200">
                <a:solidFill>
                  <a:srgbClr val="221E5B"/>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31359317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lvl1pPr marL="228600" indent="-228600">
              <a:buFont typeface="Wingdings" panose="05000000000000000000" pitchFamily="2" charset="2"/>
              <a:buChar char="§"/>
              <a:defRPr sz="3200"/>
            </a:lvl1pPr>
            <a:lvl2pPr marL="685800" indent="-228600">
              <a:buFont typeface="Wingdings" panose="05000000000000000000" pitchFamily="2" charset="2"/>
              <a:buChar char="§"/>
              <a:defRPr sz="2800"/>
            </a:lvl2pPr>
            <a:lvl3pPr marL="1143000" indent="-228600">
              <a:buFont typeface="Wingdings" panose="05000000000000000000" pitchFamily="2" charset="2"/>
              <a:buChar char="§"/>
              <a:defRPr sz="2400"/>
            </a:lvl3pPr>
            <a:lvl4pPr marL="1600200" indent="-228600">
              <a:buFont typeface="Wingdings" panose="05000000000000000000" pitchFamily="2" charset="2"/>
              <a:buChar char="§"/>
              <a:defRPr sz="2000"/>
            </a:lvl4pPr>
            <a:lvl5pPr marL="2057400" indent="-228600">
              <a:buFont typeface="Wingdings" panose="05000000000000000000" pitchFamily="2" charset="2"/>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This footer is edited in &gt;Insert &gt; Header &amp; Footer</a:t>
            </a:r>
          </a:p>
        </p:txBody>
      </p:sp>
      <p:sp>
        <p:nvSpPr>
          <p:cNvPr id="6" name="Slide Number Placeholder 5"/>
          <p:cNvSpPr>
            <a:spLocks noGrp="1"/>
          </p:cNvSpPr>
          <p:nvPr>
            <p:ph type="sldNum" sz="quarter" idx="12"/>
          </p:nvPr>
        </p:nvSpPr>
        <p:spPr/>
        <p:txBody>
          <a:bodyPr/>
          <a:lstStyle/>
          <a:p>
            <a:r>
              <a:rPr lang="en-GB" dirty="0">
                <a:solidFill>
                  <a:schemeClr val="bg1"/>
                </a:solidFill>
              </a:rPr>
              <a:t>Slide</a:t>
            </a:r>
            <a:r>
              <a:rPr lang="en-GB" dirty="0"/>
              <a:t> </a:t>
            </a:r>
            <a:fld id="{5F4C8201-D8A8-417D-8A18-42E93E6C5D44}" type="slidenum">
              <a:rPr lang="en-GB" b="1" smtClean="0"/>
              <a:pPr/>
              <a:t>‹#›</a:t>
            </a:fld>
            <a:endParaRPr lang="en-GB" b="1" dirty="0"/>
          </a:p>
        </p:txBody>
      </p:sp>
      <p:sp>
        <p:nvSpPr>
          <p:cNvPr id="7" name="Date Placeholder 3"/>
          <p:cNvSpPr>
            <a:spLocks noGrp="1"/>
          </p:cNvSpPr>
          <p:nvPr>
            <p:ph type="dt" sz="half" idx="2"/>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6996898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1213971" cy="5811838"/>
          </a:xfrm>
        </p:spPr>
        <p:txBody>
          <a:bodyPr vert="eaVert">
            <a:normAutofit/>
          </a:bodyPr>
          <a:lstStyle>
            <a:lvl1pPr>
              <a:defRPr sz="3200"/>
            </a:lvl1pPr>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lvl1pPr marL="228600"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This footer is edited in &gt;Insert &gt; Header &amp; Footer</a:t>
            </a:r>
            <a:endParaRPr lang="en-GB" dirty="0"/>
          </a:p>
        </p:txBody>
      </p:sp>
      <p:sp>
        <p:nvSpPr>
          <p:cNvPr id="6" name="Slide Number Placeholder 5"/>
          <p:cNvSpPr>
            <a:spLocks noGrp="1"/>
          </p:cNvSpPr>
          <p:nvPr>
            <p:ph type="sldNum" sz="quarter" idx="12"/>
          </p:nvPr>
        </p:nvSpPr>
        <p:spPr>
          <a:xfrm>
            <a:off x="10285506" y="6434038"/>
            <a:ext cx="1068294" cy="365125"/>
          </a:xfrm>
        </p:spPr>
        <p:txBody>
          <a:bodyPr/>
          <a:lstStyle/>
          <a:p>
            <a:r>
              <a:rPr lang="en-GB" dirty="0">
                <a:solidFill>
                  <a:schemeClr val="bg1"/>
                </a:solidFill>
              </a:rPr>
              <a:t>Slide</a:t>
            </a:r>
            <a:r>
              <a:rPr lang="en-GB" dirty="0"/>
              <a:t> </a:t>
            </a:r>
            <a:fld id="{5F4C8201-D8A8-417D-8A18-42E93E6C5D44}" type="slidenum">
              <a:rPr lang="en-GB" b="1" smtClean="0"/>
              <a:pPr/>
              <a:t>‹#›</a:t>
            </a:fld>
            <a:endParaRPr lang="en-GB" b="1" dirty="0"/>
          </a:p>
        </p:txBody>
      </p:sp>
      <p:sp>
        <p:nvSpPr>
          <p:cNvPr id="7" name="Date Placeholder 3"/>
          <p:cNvSpPr>
            <a:spLocks noGrp="1"/>
          </p:cNvSpPr>
          <p:nvPr>
            <p:ph type="dt" sz="half" idx="2"/>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15597128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78E0C5-FB8F-4FBE-9EDF-F8DFE163D222}"/>
              </a:ext>
            </a:extLst>
          </p:cNvPr>
          <p:cNvGraphicFramePr>
            <a:graphicFrameLocks noChangeAspect="1"/>
          </p:cNvGraphicFramePr>
          <p:nvPr userDrawn="1">
            <p:custDataLst>
              <p:tags r:id="rId1"/>
            </p:custDataLst>
            <p:extLst>
              <p:ext uri="{D42A27DB-BD31-4B8C-83A1-F6EECF244321}">
                <p14:modId xmlns:p14="http://schemas.microsoft.com/office/powerpoint/2010/main" val="380774491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ct 4" hidden="1">
                        <a:extLst>
                          <a:ext uri="{FF2B5EF4-FFF2-40B4-BE49-F238E27FC236}">
                            <a16:creationId xmlns:a16="http://schemas.microsoft.com/office/drawing/2014/main" id="{1678E0C5-FB8F-4FBE-9EDF-F8DFE163D22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372551F-F98A-4888-982D-352DE41C9315}"/>
              </a:ext>
            </a:extLst>
          </p:cNvPr>
          <p:cNvSpPr/>
          <p:nvPr userDrawn="1">
            <p:custDataLst>
              <p:tags r:id="rId2"/>
            </p:custDataLst>
          </p:nvPr>
        </p:nvSpPr>
        <p:spPr>
          <a:xfrm>
            <a:off x="2" y="0"/>
            <a:ext cx="21166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200" b="0" i="0" baseline="0">
              <a:latin typeface="Trebuchet MS" panose="020B0603020202020204" pitchFamily="34" charset="0"/>
              <a:ea typeface="+mj-ea"/>
              <a:cs typeface="Arial" panose="020B0604020202020204" pitchFamily="34" charset="0"/>
              <a:sym typeface="Trebuchet MS" panose="020B0603020202020204" pitchFamily="34" charset="0"/>
            </a:endParaRPr>
          </a:p>
        </p:txBody>
      </p:sp>
      <p:sp>
        <p:nvSpPr>
          <p:cNvPr id="8" name="Slide Number Placeholder 5"/>
          <p:cNvSpPr>
            <a:spLocks noGrp="1"/>
          </p:cNvSpPr>
          <p:nvPr>
            <p:ph type="sldNum" sz="quarter" idx="12"/>
          </p:nvPr>
        </p:nvSpPr>
        <p:spPr>
          <a:xfrm>
            <a:off x="11514670"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sp>
        <p:nvSpPr>
          <p:cNvPr id="11" name="Title 1">
            <a:extLst>
              <a:ext uri="{FF2B5EF4-FFF2-40B4-BE49-F238E27FC236}">
                <a16:creationId xmlns:a16="http://schemas.microsoft.com/office/drawing/2014/main" id="{1368B10A-604C-4FB6-8C54-0A936EC1C802}"/>
              </a:ext>
            </a:extLst>
          </p:cNvPr>
          <p:cNvSpPr>
            <a:spLocks noGrp="1"/>
          </p:cNvSpPr>
          <p:nvPr>
            <p:ph type="title" hasCustomPrompt="1"/>
          </p:nvPr>
        </p:nvSpPr>
        <p:spPr>
          <a:xfrm>
            <a:off x="522493" y="303439"/>
            <a:ext cx="11162649" cy="656173"/>
          </a:xfrm>
        </p:spPr>
        <p:txBody>
          <a:bodyPr lIns="36000" rIns="36000" bIns="0"/>
          <a:lstStyle>
            <a:lvl1pPr>
              <a:defRPr lang="en-GB" sz="2400" b="0" dirty="0">
                <a:solidFill>
                  <a:schemeClr val="tx2"/>
                </a:solidFill>
                <a:latin typeface="Trebuchet MS" panose="020B0603020202020204" pitchFamily="34" charset="0"/>
                <a:ea typeface="+mj-ea"/>
                <a:cs typeface="Arial" panose="020B0604020202020204" pitchFamily="34" charset="0"/>
              </a:defRPr>
            </a:lvl1pPr>
          </a:lstStyle>
          <a:p>
            <a:r>
              <a:rPr lang="en-GB">
                <a:solidFill>
                  <a:schemeClr val="accent3">
                    <a:lumMod val="60000"/>
                    <a:lumOff val="40000"/>
                  </a:schemeClr>
                </a:solidFill>
              </a:rPr>
              <a:t>[key word]: </a:t>
            </a:r>
            <a:r>
              <a:rPr lang="en-GB"/>
              <a:t>[key message]</a:t>
            </a:r>
          </a:p>
        </p:txBody>
      </p:sp>
    </p:spTree>
    <p:extLst>
      <p:ext uri="{BB962C8B-B14F-4D97-AF65-F5344CB8AC3E}">
        <p14:creationId xmlns:p14="http://schemas.microsoft.com/office/powerpoint/2010/main" val="41336621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solidFill>
                  <a:srgbClr val="221E5B"/>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228600" indent="-228600">
              <a:buClr>
                <a:srgbClr val="009ABC"/>
              </a:buClr>
              <a:buSzPct val="100000"/>
              <a:buFont typeface="Wingdings" panose="05000000000000000000" pitchFamily="2" charset="2"/>
              <a:buChar char="§"/>
              <a:defRPr>
                <a:solidFill>
                  <a:srgbClr val="221E5B"/>
                </a:solidFill>
              </a:defRPr>
            </a:lvl1pPr>
            <a:lvl2pPr marL="685800" indent="-228600">
              <a:buClr>
                <a:srgbClr val="009ABC"/>
              </a:buClr>
              <a:buFont typeface="Wingdings" panose="05000000000000000000" pitchFamily="2" charset="2"/>
              <a:buChar char="§"/>
              <a:defRPr>
                <a:solidFill>
                  <a:srgbClr val="221E5B"/>
                </a:solidFill>
              </a:defRPr>
            </a:lvl2pPr>
            <a:lvl3pPr marL="1143000" indent="-228600">
              <a:buClr>
                <a:srgbClr val="009ABC"/>
              </a:buClr>
              <a:buFont typeface="Wingdings" panose="05000000000000000000" pitchFamily="2" charset="2"/>
              <a:buChar char="§"/>
              <a:defRPr>
                <a:solidFill>
                  <a:srgbClr val="221E5B"/>
                </a:solidFill>
              </a:defRPr>
            </a:lvl3pPr>
            <a:lvl4pPr marL="1600200" indent="-228600">
              <a:buClr>
                <a:srgbClr val="009ABC"/>
              </a:buClr>
              <a:buFont typeface="Wingdings" panose="05000000000000000000" pitchFamily="2" charset="2"/>
              <a:buChar char="§"/>
              <a:defRPr>
                <a:solidFill>
                  <a:srgbClr val="221E5B"/>
                </a:solidFill>
              </a:defRPr>
            </a:lvl4pPr>
            <a:lvl5pPr marL="2057400" indent="-228600">
              <a:buClr>
                <a:srgbClr val="009ABC"/>
              </a:buClr>
              <a:buFont typeface="Wingdings" panose="05000000000000000000" pitchFamily="2" charset="2"/>
              <a:buChar char="§"/>
              <a:defRPr>
                <a:solidFill>
                  <a:srgbClr val="221E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1"/>
          </p:nvPr>
        </p:nvSpPr>
        <p:spPr/>
        <p:txBody>
          <a:bodyPr/>
          <a:lstStyle/>
          <a:p>
            <a:r>
              <a:rPr lang="en-GB"/>
              <a:t>This footer is edited in &gt;Insert &gt; Header &amp; Footer</a:t>
            </a:r>
          </a:p>
        </p:txBody>
      </p:sp>
      <p:sp>
        <p:nvSpPr>
          <p:cNvPr id="6" name="Slide Number Placeholder 5"/>
          <p:cNvSpPr>
            <a:spLocks noGrp="1"/>
          </p:cNvSpPr>
          <p:nvPr>
            <p:ph type="sldNum" sz="quarter" idx="12"/>
          </p:nvPr>
        </p:nvSpPr>
        <p:spPr/>
        <p:txBody>
          <a:bodyPr/>
          <a:lstStyle/>
          <a:p>
            <a:r>
              <a:rPr lang="en-GB" dirty="0">
                <a:solidFill>
                  <a:schemeClr val="bg1"/>
                </a:solidFill>
              </a:rPr>
              <a:t>Slide</a:t>
            </a:r>
            <a:r>
              <a:rPr lang="en-GB" dirty="0"/>
              <a:t> </a:t>
            </a:r>
            <a:fld id="{5F4C8201-D8A8-417D-8A18-42E93E6C5D44}" type="slidenum">
              <a:rPr lang="en-GB" b="1" smtClean="0"/>
              <a:pPr/>
              <a:t>‹#›</a:t>
            </a:fld>
            <a:endParaRPr lang="en-GB" b="1" dirty="0"/>
          </a:p>
        </p:txBody>
      </p:sp>
      <p:sp>
        <p:nvSpPr>
          <p:cNvPr id="7" name="Date Placeholder 3"/>
          <p:cNvSpPr>
            <a:spLocks noGrp="1"/>
          </p:cNvSpPr>
          <p:nvPr>
            <p:ph type="dt" sz="half" idx="2"/>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1592040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rgbClr val="009ABC"/>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 name="Freeform 54"/>
          <p:cNvSpPr>
            <a:spLocks/>
          </p:cNvSpPr>
          <p:nvPr userDrawn="1"/>
        </p:nvSpPr>
        <p:spPr bwMode="auto">
          <a:xfrm>
            <a:off x="666001" y="6315812"/>
            <a:ext cx="10924476" cy="542188"/>
          </a:xfrm>
          <a:custGeom>
            <a:avLst/>
            <a:gdLst>
              <a:gd name="T0" fmla="*/ 3000 w 3000"/>
              <a:gd name="T1" fmla="*/ 146 h 146"/>
              <a:gd name="T2" fmla="*/ 3000 w 3000"/>
              <a:gd name="T3" fmla="*/ 49 h 146"/>
              <a:gd name="T4" fmla="*/ 2951 w 3000"/>
              <a:gd name="T5" fmla="*/ 0 h 146"/>
              <a:gd name="T6" fmla="*/ 48 w 3000"/>
              <a:gd name="T7" fmla="*/ 0 h 146"/>
              <a:gd name="T8" fmla="*/ 0 w 3000"/>
              <a:gd name="T9" fmla="*/ 49 h 146"/>
              <a:gd name="T10" fmla="*/ 0 w 3000"/>
              <a:gd name="T11" fmla="*/ 146 h 146"/>
              <a:gd name="T12" fmla="*/ 3000 w 3000"/>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3000" h="146">
                <a:moveTo>
                  <a:pt x="3000" y="146"/>
                </a:moveTo>
                <a:cubicBezTo>
                  <a:pt x="3000" y="49"/>
                  <a:pt x="3000" y="49"/>
                  <a:pt x="3000" y="49"/>
                </a:cubicBezTo>
                <a:cubicBezTo>
                  <a:pt x="3000" y="22"/>
                  <a:pt x="2978" y="0"/>
                  <a:pt x="2951" y="0"/>
                </a:cubicBezTo>
                <a:cubicBezTo>
                  <a:pt x="48" y="0"/>
                  <a:pt x="48" y="0"/>
                  <a:pt x="48" y="0"/>
                </a:cubicBezTo>
                <a:cubicBezTo>
                  <a:pt x="21" y="0"/>
                  <a:pt x="0" y="22"/>
                  <a:pt x="0" y="49"/>
                </a:cubicBezTo>
                <a:cubicBezTo>
                  <a:pt x="0" y="146"/>
                  <a:pt x="0" y="146"/>
                  <a:pt x="0" y="146"/>
                </a:cubicBezTo>
                <a:lnTo>
                  <a:pt x="3000" y="146"/>
                </a:lnTo>
                <a:close/>
              </a:path>
            </a:pathLst>
          </a:custGeom>
          <a:solidFill>
            <a:srgbClr val="FFFFFF">
              <a:alpha val="74902"/>
            </a:srgb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 name="Group 8"/>
          <p:cNvGrpSpPr/>
          <p:nvPr userDrawn="1"/>
        </p:nvGrpSpPr>
        <p:grpSpPr>
          <a:xfrm>
            <a:off x="9939338" y="366995"/>
            <a:ext cx="1414462" cy="1200150"/>
            <a:chOff x="-1995768" y="103889"/>
            <a:chExt cx="1414462" cy="1200150"/>
          </a:xfrm>
        </p:grpSpPr>
        <p:sp>
          <p:nvSpPr>
            <p:cNvPr id="10" name="Freeform 9"/>
            <p:cNvSpPr>
              <a:spLocks/>
            </p:cNvSpPr>
            <p:nvPr userDrawn="1"/>
          </p:nvSpPr>
          <p:spPr bwMode="auto">
            <a:xfrm>
              <a:off x="-836893" y="103889"/>
              <a:ext cx="61912" cy="90488"/>
            </a:xfrm>
            <a:custGeom>
              <a:avLst/>
              <a:gdLst>
                <a:gd name="T0" fmla="*/ 0 w 22"/>
                <a:gd name="T1" fmla="*/ 11 h 32"/>
                <a:gd name="T2" fmla="*/ 11 w 22"/>
                <a:gd name="T3" fmla="*/ 0 h 32"/>
                <a:gd name="T4" fmla="*/ 22 w 22"/>
                <a:gd name="T5" fmla="*/ 11 h 32"/>
                <a:gd name="T6" fmla="*/ 22 w 22"/>
                <a:gd name="T7" fmla="*/ 21 h 32"/>
                <a:gd name="T8" fmla="*/ 11 w 22"/>
                <a:gd name="T9" fmla="*/ 32 h 32"/>
                <a:gd name="T10" fmla="*/ 0 w 22"/>
                <a:gd name="T11" fmla="*/ 21 h 32"/>
                <a:gd name="T12" fmla="*/ 0 w 22"/>
                <a:gd name="T13" fmla="*/ 11 h 32"/>
              </a:gdLst>
              <a:ahLst/>
              <a:cxnLst>
                <a:cxn ang="0">
                  <a:pos x="T0" y="T1"/>
                </a:cxn>
                <a:cxn ang="0">
                  <a:pos x="T2" y="T3"/>
                </a:cxn>
                <a:cxn ang="0">
                  <a:pos x="T4" y="T5"/>
                </a:cxn>
                <a:cxn ang="0">
                  <a:pos x="T6" y="T7"/>
                </a:cxn>
                <a:cxn ang="0">
                  <a:pos x="T8" y="T9"/>
                </a:cxn>
                <a:cxn ang="0">
                  <a:pos x="T10" y="T11"/>
                </a:cxn>
                <a:cxn ang="0">
                  <a:pos x="T12" y="T13"/>
                </a:cxn>
              </a:cxnLst>
              <a:rect l="0" t="0" r="r" b="b"/>
              <a:pathLst>
                <a:path w="22" h="32">
                  <a:moveTo>
                    <a:pt x="0" y="11"/>
                  </a:moveTo>
                  <a:cubicBezTo>
                    <a:pt x="0" y="5"/>
                    <a:pt x="5" y="0"/>
                    <a:pt x="11" y="0"/>
                  </a:cubicBezTo>
                  <a:cubicBezTo>
                    <a:pt x="17" y="0"/>
                    <a:pt x="22" y="5"/>
                    <a:pt x="22" y="11"/>
                  </a:cubicBezTo>
                  <a:cubicBezTo>
                    <a:pt x="22" y="21"/>
                    <a:pt x="22" y="21"/>
                    <a:pt x="22" y="21"/>
                  </a:cubicBezTo>
                  <a:cubicBezTo>
                    <a:pt x="22" y="27"/>
                    <a:pt x="17" y="32"/>
                    <a:pt x="11" y="32"/>
                  </a:cubicBezTo>
                  <a:cubicBezTo>
                    <a:pt x="5" y="32"/>
                    <a:pt x="0" y="27"/>
                    <a:pt x="0" y="21"/>
                  </a:cubicBezTo>
                  <a:lnTo>
                    <a:pt x="0"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10"/>
            <p:cNvSpPr>
              <a:spLocks/>
            </p:cNvSpPr>
            <p:nvPr userDrawn="1"/>
          </p:nvSpPr>
          <p:spPr bwMode="auto">
            <a:xfrm>
              <a:off x="-990881" y="197552"/>
              <a:ext cx="369887" cy="246063"/>
            </a:xfrm>
            <a:custGeom>
              <a:avLst/>
              <a:gdLst>
                <a:gd name="T0" fmla="*/ 130 w 132"/>
                <a:gd name="T1" fmla="*/ 9 h 88"/>
                <a:gd name="T2" fmla="*/ 116 w 132"/>
                <a:gd name="T3" fmla="*/ 2 h 88"/>
                <a:gd name="T4" fmla="*/ 66 w 132"/>
                <a:gd name="T5" fmla="*/ 18 h 88"/>
                <a:gd name="T6" fmla="*/ 16 w 132"/>
                <a:gd name="T7" fmla="*/ 2 h 88"/>
                <a:gd name="T8" fmla="*/ 2 w 132"/>
                <a:gd name="T9" fmla="*/ 9 h 88"/>
                <a:gd name="T10" fmla="*/ 9 w 132"/>
                <a:gd name="T11" fmla="*/ 23 h 88"/>
                <a:gd name="T12" fmla="*/ 48 w 132"/>
                <a:gd name="T13" fmla="*/ 36 h 88"/>
                <a:gd name="T14" fmla="*/ 24 w 132"/>
                <a:gd name="T15" fmla="*/ 69 h 88"/>
                <a:gd name="T16" fmla="*/ 26 w 132"/>
                <a:gd name="T17" fmla="*/ 84 h 88"/>
                <a:gd name="T18" fmla="*/ 42 w 132"/>
                <a:gd name="T19" fmla="*/ 82 h 88"/>
                <a:gd name="T20" fmla="*/ 66 w 132"/>
                <a:gd name="T21" fmla="*/ 48 h 88"/>
                <a:gd name="T22" fmla="*/ 90 w 132"/>
                <a:gd name="T23" fmla="*/ 82 h 88"/>
                <a:gd name="T24" fmla="*/ 105 w 132"/>
                <a:gd name="T25" fmla="*/ 84 h 88"/>
                <a:gd name="T26" fmla="*/ 108 w 132"/>
                <a:gd name="T27" fmla="*/ 69 h 88"/>
                <a:gd name="T28" fmla="*/ 84 w 132"/>
                <a:gd name="T29" fmla="*/ 36 h 88"/>
                <a:gd name="T30" fmla="*/ 123 w 132"/>
                <a:gd name="T31" fmla="*/ 23 h 88"/>
                <a:gd name="T32" fmla="*/ 130 w 132"/>
                <a:gd name="T33"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88">
                  <a:moveTo>
                    <a:pt x="130" y="9"/>
                  </a:moveTo>
                  <a:cubicBezTo>
                    <a:pt x="128" y="3"/>
                    <a:pt x="122" y="0"/>
                    <a:pt x="116" y="2"/>
                  </a:cubicBezTo>
                  <a:cubicBezTo>
                    <a:pt x="66" y="18"/>
                    <a:pt x="66" y="18"/>
                    <a:pt x="66" y="18"/>
                  </a:cubicBezTo>
                  <a:cubicBezTo>
                    <a:pt x="16" y="2"/>
                    <a:pt x="16" y="2"/>
                    <a:pt x="16" y="2"/>
                  </a:cubicBezTo>
                  <a:cubicBezTo>
                    <a:pt x="10" y="0"/>
                    <a:pt x="4" y="3"/>
                    <a:pt x="2" y="9"/>
                  </a:cubicBezTo>
                  <a:cubicBezTo>
                    <a:pt x="0" y="15"/>
                    <a:pt x="3" y="21"/>
                    <a:pt x="9" y="23"/>
                  </a:cubicBezTo>
                  <a:cubicBezTo>
                    <a:pt x="48" y="36"/>
                    <a:pt x="48" y="36"/>
                    <a:pt x="48" y="36"/>
                  </a:cubicBezTo>
                  <a:cubicBezTo>
                    <a:pt x="24" y="69"/>
                    <a:pt x="24" y="69"/>
                    <a:pt x="24" y="69"/>
                  </a:cubicBezTo>
                  <a:cubicBezTo>
                    <a:pt x="20" y="74"/>
                    <a:pt x="21" y="81"/>
                    <a:pt x="26" y="84"/>
                  </a:cubicBezTo>
                  <a:cubicBezTo>
                    <a:pt x="31" y="88"/>
                    <a:pt x="38" y="87"/>
                    <a:pt x="42" y="82"/>
                  </a:cubicBezTo>
                  <a:cubicBezTo>
                    <a:pt x="66" y="48"/>
                    <a:pt x="66" y="48"/>
                    <a:pt x="66" y="48"/>
                  </a:cubicBezTo>
                  <a:cubicBezTo>
                    <a:pt x="90" y="82"/>
                    <a:pt x="90" y="82"/>
                    <a:pt x="90" y="82"/>
                  </a:cubicBezTo>
                  <a:cubicBezTo>
                    <a:pt x="94" y="87"/>
                    <a:pt x="100" y="88"/>
                    <a:pt x="105" y="84"/>
                  </a:cubicBezTo>
                  <a:cubicBezTo>
                    <a:pt x="110" y="81"/>
                    <a:pt x="111" y="74"/>
                    <a:pt x="108" y="69"/>
                  </a:cubicBezTo>
                  <a:cubicBezTo>
                    <a:pt x="84" y="36"/>
                    <a:pt x="84" y="36"/>
                    <a:pt x="84" y="36"/>
                  </a:cubicBezTo>
                  <a:cubicBezTo>
                    <a:pt x="123" y="23"/>
                    <a:pt x="123" y="23"/>
                    <a:pt x="123" y="23"/>
                  </a:cubicBezTo>
                  <a:cubicBezTo>
                    <a:pt x="128" y="21"/>
                    <a:pt x="132" y="15"/>
                    <a:pt x="130" y="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1"/>
            <p:cNvSpPr>
              <a:spLocks/>
            </p:cNvSpPr>
            <p:nvPr userDrawn="1"/>
          </p:nvSpPr>
          <p:spPr bwMode="auto">
            <a:xfrm>
              <a:off x="-1140106" y="183264"/>
              <a:ext cx="47625" cy="69850"/>
            </a:xfrm>
            <a:custGeom>
              <a:avLst/>
              <a:gdLst>
                <a:gd name="T0" fmla="*/ 0 w 17"/>
                <a:gd name="T1" fmla="*/ 9 h 25"/>
                <a:gd name="T2" fmla="*/ 9 w 17"/>
                <a:gd name="T3" fmla="*/ 0 h 25"/>
                <a:gd name="T4" fmla="*/ 17 w 17"/>
                <a:gd name="T5" fmla="*/ 9 h 25"/>
                <a:gd name="T6" fmla="*/ 17 w 17"/>
                <a:gd name="T7" fmla="*/ 16 h 25"/>
                <a:gd name="T8" fmla="*/ 9 w 17"/>
                <a:gd name="T9" fmla="*/ 25 h 25"/>
                <a:gd name="T10" fmla="*/ 0 w 17"/>
                <a:gd name="T11" fmla="*/ 16 h 25"/>
                <a:gd name="T12" fmla="*/ 0 w 17"/>
                <a:gd name="T13" fmla="*/ 9 h 25"/>
              </a:gdLst>
              <a:ahLst/>
              <a:cxnLst>
                <a:cxn ang="0">
                  <a:pos x="T0" y="T1"/>
                </a:cxn>
                <a:cxn ang="0">
                  <a:pos x="T2" y="T3"/>
                </a:cxn>
                <a:cxn ang="0">
                  <a:pos x="T4" y="T5"/>
                </a:cxn>
                <a:cxn ang="0">
                  <a:pos x="T6" y="T7"/>
                </a:cxn>
                <a:cxn ang="0">
                  <a:pos x="T8" y="T9"/>
                </a:cxn>
                <a:cxn ang="0">
                  <a:pos x="T10" y="T11"/>
                </a:cxn>
                <a:cxn ang="0">
                  <a:pos x="T12" y="T13"/>
                </a:cxn>
              </a:cxnLst>
              <a:rect l="0" t="0" r="r" b="b"/>
              <a:pathLst>
                <a:path w="17" h="25">
                  <a:moveTo>
                    <a:pt x="0" y="9"/>
                  </a:moveTo>
                  <a:cubicBezTo>
                    <a:pt x="0" y="4"/>
                    <a:pt x="4" y="0"/>
                    <a:pt x="9" y="0"/>
                  </a:cubicBezTo>
                  <a:cubicBezTo>
                    <a:pt x="13" y="0"/>
                    <a:pt x="17" y="4"/>
                    <a:pt x="17" y="9"/>
                  </a:cubicBezTo>
                  <a:cubicBezTo>
                    <a:pt x="17" y="16"/>
                    <a:pt x="17" y="16"/>
                    <a:pt x="17" y="16"/>
                  </a:cubicBezTo>
                  <a:cubicBezTo>
                    <a:pt x="17" y="21"/>
                    <a:pt x="13" y="25"/>
                    <a:pt x="9" y="25"/>
                  </a:cubicBezTo>
                  <a:cubicBezTo>
                    <a:pt x="4" y="25"/>
                    <a:pt x="0" y="21"/>
                    <a:pt x="0" y="16"/>
                  </a:cubicBezTo>
                  <a:lnTo>
                    <a:pt x="0" y="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2"/>
            <p:cNvSpPr>
              <a:spLocks/>
            </p:cNvSpPr>
            <p:nvPr userDrawn="1"/>
          </p:nvSpPr>
          <p:spPr bwMode="auto">
            <a:xfrm>
              <a:off x="-1254406" y="256289"/>
              <a:ext cx="280987" cy="185738"/>
            </a:xfrm>
            <a:custGeom>
              <a:avLst/>
              <a:gdLst>
                <a:gd name="T0" fmla="*/ 99 w 100"/>
                <a:gd name="T1" fmla="*/ 6 h 66"/>
                <a:gd name="T2" fmla="*/ 88 w 100"/>
                <a:gd name="T3" fmla="*/ 1 h 66"/>
                <a:gd name="T4" fmla="*/ 50 w 100"/>
                <a:gd name="T5" fmla="*/ 14 h 66"/>
                <a:gd name="T6" fmla="*/ 12 w 100"/>
                <a:gd name="T7" fmla="*/ 1 h 66"/>
                <a:gd name="T8" fmla="*/ 1 w 100"/>
                <a:gd name="T9" fmla="*/ 6 h 66"/>
                <a:gd name="T10" fmla="*/ 6 w 100"/>
                <a:gd name="T11" fmla="*/ 17 h 66"/>
                <a:gd name="T12" fmla="*/ 36 w 100"/>
                <a:gd name="T13" fmla="*/ 27 h 66"/>
                <a:gd name="T14" fmla="*/ 18 w 100"/>
                <a:gd name="T15" fmla="*/ 52 h 66"/>
                <a:gd name="T16" fmla="*/ 20 w 100"/>
                <a:gd name="T17" fmla="*/ 64 h 66"/>
                <a:gd name="T18" fmla="*/ 31 w 100"/>
                <a:gd name="T19" fmla="*/ 62 h 66"/>
                <a:gd name="T20" fmla="*/ 50 w 100"/>
                <a:gd name="T21" fmla="*/ 36 h 66"/>
                <a:gd name="T22" fmla="*/ 68 w 100"/>
                <a:gd name="T23" fmla="*/ 62 h 66"/>
                <a:gd name="T24" fmla="*/ 80 w 100"/>
                <a:gd name="T25" fmla="*/ 64 h 66"/>
                <a:gd name="T26" fmla="*/ 82 w 100"/>
                <a:gd name="T27" fmla="*/ 52 h 66"/>
                <a:gd name="T28" fmla="*/ 63 w 100"/>
                <a:gd name="T29" fmla="*/ 27 h 66"/>
                <a:gd name="T30" fmla="*/ 93 w 100"/>
                <a:gd name="T31" fmla="*/ 17 h 66"/>
                <a:gd name="T32" fmla="*/ 99 w 100"/>
                <a:gd name="T3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66">
                  <a:moveTo>
                    <a:pt x="99" y="6"/>
                  </a:moveTo>
                  <a:cubicBezTo>
                    <a:pt x="97" y="2"/>
                    <a:pt x="92" y="0"/>
                    <a:pt x="88" y="1"/>
                  </a:cubicBezTo>
                  <a:cubicBezTo>
                    <a:pt x="50" y="14"/>
                    <a:pt x="50" y="14"/>
                    <a:pt x="50" y="14"/>
                  </a:cubicBezTo>
                  <a:cubicBezTo>
                    <a:pt x="12" y="1"/>
                    <a:pt x="12" y="1"/>
                    <a:pt x="12" y="1"/>
                  </a:cubicBezTo>
                  <a:cubicBezTo>
                    <a:pt x="7" y="0"/>
                    <a:pt x="2" y="2"/>
                    <a:pt x="1" y="6"/>
                  </a:cubicBezTo>
                  <a:cubicBezTo>
                    <a:pt x="0" y="11"/>
                    <a:pt x="2" y="15"/>
                    <a:pt x="6" y="17"/>
                  </a:cubicBezTo>
                  <a:cubicBezTo>
                    <a:pt x="36" y="27"/>
                    <a:pt x="36" y="27"/>
                    <a:pt x="36" y="27"/>
                  </a:cubicBezTo>
                  <a:cubicBezTo>
                    <a:pt x="18" y="52"/>
                    <a:pt x="18" y="52"/>
                    <a:pt x="18" y="52"/>
                  </a:cubicBezTo>
                  <a:cubicBezTo>
                    <a:pt x="15" y="56"/>
                    <a:pt x="16" y="61"/>
                    <a:pt x="20" y="64"/>
                  </a:cubicBezTo>
                  <a:cubicBezTo>
                    <a:pt x="23" y="66"/>
                    <a:pt x="29" y="66"/>
                    <a:pt x="31" y="62"/>
                  </a:cubicBezTo>
                  <a:cubicBezTo>
                    <a:pt x="50" y="36"/>
                    <a:pt x="50" y="36"/>
                    <a:pt x="50" y="36"/>
                  </a:cubicBezTo>
                  <a:cubicBezTo>
                    <a:pt x="68" y="62"/>
                    <a:pt x="68" y="62"/>
                    <a:pt x="68" y="62"/>
                  </a:cubicBezTo>
                  <a:cubicBezTo>
                    <a:pt x="71" y="66"/>
                    <a:pt x="76" y="66"/>
                    <a:pt x="80" y="64"/>
                  </a:cubicBezTo>
                  <a:cubicBezTo>
                    <a:pt x="84" y="61"/>
                    <a:pt x="84" y="56"/>
                    <a:pt x="82" y="52"/>
                  </a:cubicBezTo>
                  <a:cubicBezTo>
                    <a:pt x="63" y="27"/>
                    <a:pt x="63" y="27"/>
                    <a:pt x="63" y="27"/>
                  </a:cubicBezTo>
                  <a:cubicBezTo>
                    <a:pt x="93" y="17"/>
                    <a:pt x="93" y="17"/>
                    <a:pt x="93" y="17"/>
                  </a:cubicBezTo>
                  <a:cubicBezTo>
                    <a:pt x="98" y="15"/>
                    <a:pt x="100" y="11"/>
                    <a:pt x="99" y="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3"/>
            <p:cNvSpPr>
              <a:spLocks/>
            </p:cNvSpPr>
            <p:nvPr userDrawn="1"/>
          </p:nvSpPr>
          <p:spPr bwMode="auto">
            <a:xfrm>
              <a:off x="-1363943" y="249939"/>
              <a:ext cx="36512" cy="47625"/>
            </a:xfrm>
            <a:custGeom>
              <a:avLst/>
              <a:gdLst>
                <a:gd name="T0" fmla="*/ 0 w 13"/>
                <a:gd name="T1" fmla="*/ 6 h 17"/>
                <a:gd name="T2" fmla="*/ 7 w 13"/>
                <a:gd name="T3" fmla="*/ 0 h 17"/>
                <a:gd name="T4" fmla="*/ 13 w 13"/>
                <a:gd name="T5" fmla="*/ 6 h 17"/>
                <a:gd name="T6" fmla="*/ 13 w 13"/>
                <a:gd name="T7" fmla="*/ 11 h 17"/>
                <a:gd name="T8" fmla="*/ 7 w 13"/>
                <a:gd name="T9" fmla="*/ 17 h 17"/>
                <a:gd name="T10" fmla="*/ 0 w 13"/>
                <a:gd name="T11" fmla="*/ 11 h 17"/>
                <a:gd name="T12" fmla="*/ 0 w 13"/>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13" h="17">
                  <a:moveTo>
                    <a:pt x="0" y="6"/>
                  </a:moveTo>
                  <a:cubicBezTo>
                    <a:pt x="0" y="2"/>
                    <a:pt x="3" y="0"/>
                    <a:pt x="7" y="0"/>
                  </a:cubicBezTo>
                  <a:cubicBezTo>
                    <a:pt x="10" y="0"/>
                    <a:pt x="13" y="2"/>
                    <a:pt x="13" y="6"/>
                  </a:cubicBezTo>
                  <a:cubicBezTo>
                    <a:pt x="13" y="11"/>
                    <a:pt x="13" y="11"/>
                    <a:pt x="13" y="11"/>
                  </a:cubicBezTo>
                  <a:cubicBezTo>
                    <a:pt x="13" y="15"/>
                    <a:pt x="10" y="17"/>
                    <a:pt x="7" y="17"/>
                  </a:cubicBezTo>
                  <a:cubicBezTo>
                    <a:pt x="3" y="17"/>
                    <a:pt x="0" y="15"/>
                    <a:pt x="0" y="11"/>
                  </a:cubicBez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4"/>
            <p:cNvSpPr>
              <a:spLocks/>
            </p:cNvSpPr>
            <p:nvPr userDrawn="1"/>
          </p:nvSpPr>
          <p:spPr bwMode="auto">
            <a:xfrm>
              <a:off x="-1451256" y="300739"/>
              <a:ext cx="211137" cy="141288"/>
            </a:xfrm>
            <a:custGeom>
              <a:avLst/>
              <a:gdLst>
                <a:gd name="T0" fmla="*/ 74 w 75"/>
                <a:gd name="T1" fmla="*/ 5 h 50"/>
                <a:gd name="T2" fmla="*/ 66 w 75"/>
                <a:gd name="T3" fmla="*/ 1 h 50"/>
                <a:gd name="T4" fmla="*/ 38 w 75"/>
                <a:gd name="T5" fmla="*/ 11 h 50"/>
                <a:gd name="T6" fmla="*/ 9 w 75"/>
                <a:gd name="T7" fmla="*/ 1 h 50"/>
                <a:gd name="T8" fmla="*/ 1 w 75"/>
                <a:gd name="T9" fmla="*/ 5 h 50"/>
                <a:gd name="T10" fmla="*/ 5 w 75"/>
                <a:gd name="T11" fmla="*/ 13 h 50"/>
                <a:gd name="T12" fmla="*/ 28 w 75"/>
                <a:gd name="T13" fmla="*/ 20 h 50"/>
                <a:gd name="T14" fmla="*/ 14 w 75"/>
                <a:gd name="T15" fmla="*/ 39 h 50"/>
                <a:gd name="T16" fmla="*/ 15 w 75"/>
                <a:gd name="T17" fmla="*/ 48 h 50"/>
                <a:gd name="T18" fmla="*/ 24 w 75"/>
                <a:gd name="T19" fmla="*/ 47 h 50"/>
                <a:gd name="T20" fmla="*/ 38 w 75"/>
                <a:gd name="T21" fmla="*/ 28 h 50"/>
                <a:gd name="T22" fmla="*/ 51 w 75"/>
                <a:gd name="T23" fmla="*/ 47 h 50"/>
                <a:gd name="T24" fmla="*/ 60 w 75"/>
                <a:gd name="T25" fmla="*/ 48 h 50"/>
                <a:gd name="T26" fmla="*/ 62 w 75"/>
                <a:gd name="T27" fmla="*/ 39 h 50"/>
                <a:gd name="T28" fmla="*/ 48 w 75"/>
                <a:gd name="T29" fmla="*/ 20 h 50"/>
                <a:gd name="T30" fmla="*/ 70 w 75"/>
                <a:gd name="T31" fmla="*/ 13 h 50"/>
                <a:gd name="T32" fmla="*/ 74 w 75"/>
                <a:gd name="T33"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50">
                  <a:moveTo>
                    <a:pt x="74" y="5"/>
                  </a:moveTo>
                  <a:cubicBezTo>
                    <a:pt x="73" y="2"/>
                    <a:pt x="69" y="0"/>
                    <a:pt x="66" y="1"/>
                  </a:cubicBezTo>
                  <a:cubicBezTo>
                    <a:pt x="38" y="11"/>
                    <a:pt x="38" y="11"/>
                    <a:pt x="38" y="11"/>
                  </a:cubicBezTo>
                  <a:cubicBezTo>
                    <a:pt x="9" y="1"/>
                    <a:pt x="9" y="1"/>
                    <a:pt x="9" y="1"/>
                  </a:cubicBezTo>
                  <a:cubicBezTo>
                    <a:pt x="6" y="0"/>
                    <a:pt x="2" y="2"/>
                    <a:pt x="1" y="5"/>
                  </a:cubicBezTo>
                  <a:cubicBezTo>
                    <a:pt x="0" y="9"/>
                    <a:pt x="2" y="12"/>
                    <a:pt x="5" y="13"/>
                  </a:cubicBezTo>
                  <a:cubicBezTo>
                    <a:pt x="28" y="20"/>
                    <a:pt x="28" y="20"/>
                    <a:pt x="28" y="20"/>
                  </a:cubicBezTo>
                  <a:cubicBezTo>
                    <a:pt x="14" y="39"/>
                    <a:pt x="14" y="39"/>
                    <a:pt x="14" y="39"/>
                  </a:cubicBezTo>
                  <a:cubicBezTo>
                    <a:pt x="12" y="42"/>
                    <a:pt x="12" y="46"/>
                    <a:pt x="15" y="48"/>
                  </a:cubicBezTo>
                  <a:cubicBezTo>
                    <a:pt x="18" y="50"/>
                    <a:pt x="22" y="49"/>
                    <a:pt x="24" y="47"/>
                  </a:cubicBezTo>
                  <a:cubicBezTo>
                    <a:pt x="38" y="28"/>
                    <a:pt x="38" y="28"/>
                    <a:pt x="38" y="28"/>
                  </a:cubicBezTo>
                  <a:cubicBezTo>
                    <a:pt x="51" y="47"/>
                    <a:pt x="51" y="47"/>
                    <a:pt x="51" y="47"/>
                  </a:cubicBezTo>
                  <a:cubicBezTo>
                    <a:pt x="53" y="49"/>
                    <a:pt x="57" y="50"/>
                    <a:pt x="60" y="48"/>
                  </a:cubicBezTo>
                  <a:cubicBezTo>
                    <a:pt x="63" y="46"/>
                    <a:pt x="64" y="42"/>
                    <a:pt x="62" y="39"/>
                  </a:cubicBezTo>
                  <a:cubicBezTo>
                    <a:pt x="48" y="20"/>
                    <a:pt x="48" y="20"/>
                    <a:pt x="48" y="20"/>
                  </a:cubicBezTo>
                  <a:cubicBezTo>
                    <a:pt x="70" y="13"/>
                    <a:pt x="70" y="13"/>
                    <a:pt x="70" y="13"/>
                  </a:cubicBezTo>
                  <a:cubicBezTo>
                    <a:pt x="73" y="12"/>
                    <a:pt x="75" y="9"/>
                    <a:pt x="74"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5"/>
            <p:cNvSpPr>
              <a:spLocks noEditPoints="1"/>
            </p:cNvSpPr>
            <p:nvPr userDrawn="1"/>
          </p:nvSpPr>
          <p:spPr bwMode="auto">
            <a:xfrm>
              <a:off x="-1995768" y="421389"/>
              <a:ext cx="325437" cy="396875"/>
            </a:xfrm>
            <a:custGeom>
              <a:avLst/>
              <a:gdLst>
                <a:gd name="T0" fmla="*/ 58 w 116"/>
                <a:gd name="T1" fmla="*/ 141 h 141"/>
                <a:gd name="T2" fmla="*/ 0 w 116"/>
                <a:gd name="T3" fmla="*/ 71 h 141"/>
                <a:gd name="T4" fmla="*/ 58 w 116"/>
                <a:gd name="T5" fmla="*/ 0 h 141"/>
                <a:gd name="T6" fmla="*/ 116 w 116"/>
                <a:gd name="T7" fmla="*/ 71 h 141"/>
                <a:gd name="T8" fmla="*/ 58 w 116"/>
                <a:gd name="T9" fmla="*/ 141 h 141"/>
                <a:gd name="T10" fmla="*/ 59 w 116"/>
                <a:gd name="T11" fmla="*/ 16 h 141"/>
                <a:gd name="T12" fmla="*/ 22 w 116"/>
                <a:gd name="T13" fmla="*/ 71 h 141"/>
                <a:gd name="T14" fmla="*/ 32 w 116"/>
                <a:gd name="T15" fmla="*/ 113 h 141"/>
                <a:gd name="T16" fmla="*/ 58 w 116"/>
                <a:gd name="T17" fmla="*/ 125 h 141"/>
                <a:gd name="T18" fmla="*/ 94 w 116"/>
                <a:gd name="T19" fmla="*/ 71 h 141"/>
                <a:gd name="T20" fmla="*/ 59 w 116"/>
                <a:gd name="T21" fmla="*/ 1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41">
                  <a:moveTo>
                    <a:pt x="58" y="141"/>
                  </a:moveTo>
                  <a:cubicBezTo>
                    <a:pt x="20" y="141"/>
                    <a:pt x="0" y="116"/>
                    <a:pt x="0" y="71"/>
                  </a:cubicBezTo>
                  <a:cubicBezTo>
                    <a:pt x="0" y="25"/>
                    <a:pt x="21" y="0"/>
                    <a:pt x="58" y="0"/>
                  </a:cubicBezTo>
                  <a:cubicBezTo>
                    <a:pt x="96" y="0"/>
                    <a:pt x="116" y="25"/>
                    <a:pt x="116" y="71"/>
                  </a:cubicBezTo>
                  <a:cubicBezTo>
                    <a:pt x="116" y="116"/>
                    <a:pt x="96" y="141"/>
                    <a:pt x="58" y="141"/>
                  </a:cubicBezTo>
                  <a:moveTo>
                    <a:pt x="59" y="16"/>
                  </a:moveTo>
                  <a:cubicBezTo>
                    <a:pt x="35" y="16"/>
                    <a:pt x="22" y="35"/>
                    <a:pt x="22" y="71"/>
                  </a:cubicBezTo>
                  <a:cubicBezTo>
                    <a:pt x="22" y="88"/>
                    <a:pt x="26" y="104"/>
                    <a:pt x="32" y="113"/>
                  </a:cubicBezTo>
                  <a:cubicBezTo>
                    <a:pt x="37" y="121"/>
                    <a:pt x="47" y="125"/>
                    <a:pt x="58" y="125"/>
                  </a:cubicBezTo>
                  <a:cubicBezTo>
                    <a:pt x="82" y="125"/>
                    <a:pt x="94" y="107"/>
                    <a:pt x="94" y="71"/>
                  </a:cubicBezTo>
                  <a:cubicBezTo>
                    <a:pt x="94" y="34"/>
                    <a:pt x="82" y="16"/>
                    <a:pt x="59" y="1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6"/>
            <p:cNvSpPr>
              <a:spLocks/>
            </p:cNvSpPr>
            <p:nvPr userDrawn="1"/>
          </p:nvSpPr>
          <p:spPr bwMode="auto">
            <a:xfrm>
              <a:off x="-1648106" y="394402"/>
              <a:ext cx="193675" cy="417513"/>
            </a:xfrm>
            <a:custGeom>
              <a:avLst/>
              <a:gdLst>
                <a:gd name="T0" fmla="*/ 67 w 69"/>
                <a:gd name="T1" fmla="*/ 16 h 149"/>
                <a:gd name="T2" fmla="*/ 50 w 69"/>
                <a:gd name="T3" fmla="*/ 15 h 149"/>
                <a:gd name="T4" fmla="*/ 37 w 69"/>
                <a:gd name="T5" fmla="*/ 33 h 149"/>
                <a:gd name="T6" fmla="*/ 37 w 69"/>
                <a:gd name="T7" fmla="*/ 52 h 149"/>
                <a:gd name="T8" fmla="*/ 64 w 69"/>
                <a:gd name="T9" fmla="*/ 52 h 149"/>
                <a:gd name="T10" fmla="*/ 64 w 69"/>
                <a:gd name="T11" fmla="*/ 65 h 149"/>
                <a:gd name="T12" fmla="*/ 37 w 69"/>
                <a:gd name="T13" fmla="*/ 65 h 149"/>
                <a:gd name="T14" fmla="*/ 37 w 69"/>
                <a:gd name="T15" fmla="*/ 149 h 149"/>
                <a:gd name="T16" fmla="*/ 17 w 69"/>
                <a:gd name="T17" fmla="*/ 149 h 149"/>
                <a:gd name="T18" fmla="*/ 17 w 69"/>
                <a:gd name="T19" fmla="*/ 65 h 149"/>
                <a:gd name="T20" fmla="*/ 0 w 69"/>
                <a:gd name="T21" fmla="*/ 65 h 149"/>
                <a:gd name="T22" fmla="*/ 0 w 69"/>
                <a:gd name="T23" fmla="*/ 54 h 149"/>
                <a:gd name="T24" fmla="*/ 17 w 69"/>
                <a:gd name="T25" fmla="*/ 51 h 149"/>
                <a:gd name="T26" fmla="*/ 17 w 69"/>
                <a:gd name="T27" fmla="*/ 35 h 149"/>
                <a:gd name="T28" fmla="*/ 22 w 69"/>
                <a:gd name="T29" fmla="*/ 11 h 149"/>
                <a:gd name="T30" fmla="*/ 44 w 69"/>
                <a:gd name="T31" fmla="*/ 0 h 149"/>
                <a:gd name="T32" fmla="*/ 69 w 69"/>
                <a:gd name="T33" fmla="*/ 4 h 149"/>
                <a:gd name="T34" fmla="*/ 67 w 69"/>
                <a:gd name="T35" fmla="*/ 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49">
                  <a:moveTo>
                    <a:pt x="67" y="16"/>
                  </a:moveTo>
                  <a:cubicBezTo>
                    <a:pt x="65" y="16"/>
                    <a:pt x="59" y="15"/>
                    <a:pt x="50" y="15"/>
                  </a:cubicBezTo>
                  <a:cubicBezTo>
                    <a:pt x="40" y="15"/>
                    <a:pt x="37" y="19"/>
                    <a:pt x="37" y="33"/>
                  </a:cubicBezTo>
                  <a:cubicBezTo>
                    <a:pt x="37" y="52"/>
                    <a:pt x="37" y="52"/>
                    <a:pt x="37" y="52"/>
                  </a:cubicBezTo>
                  <a:cubicBezTo>
                    <a:pt x="64" y="52"/>
                    <a:pt x="64" y="52"/>
                    <a:pt x="64" y="52"/>
                  </a:cubicBezTo>
                  <a:cubicBezTo>
                    <a:pt x="64" y="65"/>
                    <a:pt x="64" y="65"/>
                    <a:pt x="64" y="65"/>
                  </a:cubicBezTo>
                  <a:cubicBezTo>
                    <a:pt x="37" y="65"/>
                    <a:pt x="37" y="65"/>
                    <a:pt x="37" y="65"/>
                  </a:cubicBezTo>
                  <a:cubicBezTo>
                    <a:pt x="37" y="149"/>
                    <a:pt x="37" y="149"/>
                    <a:pt x="37" y="149"/>
                  </a:cubicBezTo>
                  <a:cubicBezTo>
                    <a:pt x="17" y="149"/>
                    <a:pt x="17" y="149"/>
                    <a:pt x="17" y="149"/>
                  </a:cubicBezTo>
                  <a:cubicBezTo>
                    <a:pt x="17" y="65"/>
                    <a:pt x="17" y="65"/>
                    <a:pt x="17" y="65"/>
                  </a:cubicBezTo>
                  <a:cubicBezTo>
                    <a:pt x="0" y="65"/>
                    <a:pt x="0" y="65"/>
                    <a:pt x="0" y="65"/>
                  </a:cubicBezTo>
                  <a:cubicBezTo>
                    <a:pt x="0" y="54"/>
                    <a:pt x="0" y="54"/>
                    <a:pt x="0" y="54"/>
                  </a:cubicBezTo>
                  <a:cubicBezTo>
                    <a:pt x="17" y="51"/>
                    <a:pt x="17" y="51"/>
                    <a:pt x="17" y="51"/>
                  </a:cubicBezTo>
                  <a:cubicBezTo>
                    <a:pt x="17" y="35"/>
                    <a:pt x="17" y="35"/>
                    <a:pt x="17" y="35"/>
                  </a:cubicBezTo>
                  <a:cubicBezTo>
                    <a:pt x="17" y="21"/>
                    <a:pt x="18" y="16"/>
                    <a:pt x="22" y="11"/>
                  </a:cubicBezTo>
                  <a:cubicBezTo>
                    <a:pt x="27" y="4"/>
                    <a:pt x="34" y="0"/>
                    <a:pt x="44" y="0"/>
                  </a:cubicBezTo>
                  <a:cubicBezTo>
                    <a:pt x="54" y="0"/>
                    <a:pt x="66" y="3"/>
                    <a:pt x="69" y="4"/>
                  </a:cubicBezTo>
                  <a:lnTo>
                    <a:pt x="67" y="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7"/>
            <p:cNvSpPr>
              <a:spLocks/>
            </p:cNvSpPr>
            <p:nvPr userDrawn="1"/>
          </p:nvSpPr>
          <p:spPr bwMode="auto">
            <a:xfrm>
              <a:off x="-1456018" y="534102"/>
              <a:ext cx="190500" cy="284163"/>
            </a:xfrm>
            <a:custGeom>
              <a:avLst/>
              <a:gdLst>
                <a:gd name="T0" fmla="*/ 31 w 68"/>
                <a:gd name="T1" fmla="*/ 101 h 101"/>
                <a:gd name="T2" fmla="*/ 0 w 68"/>
                <a:gd name="T3" fmla="*/ 96 h 101"/>
                <a:gd name="T4" fmla="*/ 3 w 68"/>
                <a:gd name="T5" fmla="*/ 83 h 101"/>
                <a:gd name="T6" fmla="*/ 27 w 68"/>
                <a:gd name="T7" fmla="*/ 86 h 101"/>
                <a:gd name="T8" fmla="*/ 48 w 68"/>
                <a:gd name="T9" fmla="*/ 72 h 101"/>
                <a:gd name="T10" fmla="*/ 31 w 68"/>
                <a:gd name="T11" fmla="*/ 57 h 101"/>
                <a:gd name="T12" fmla="*/ 1 w 68"/>
                <a:gd name="T13" fmla="*/ 29 h 101"/>
                <a:gd name="T14" fmla="*/ 35 w 68"/>
                <a:gd name="T15" fmla="*/ 0 h 101"/>
                <a:gd name="T16" fmla="*/ 63 w 68"/>
                <a:gd name="T17" fmla="*/ 5 h 101"/>
                <a:gd name="T18" fmla="*/ 60 w 68"/>
                <a:gd name="T19" fmla="*/ 17 h 101"/>
                <a:gd name="T20" fmla="*/ 37 w 68"/>
                <a:gd name="T21" fmla="*/ 14 h 101"/>
                <a:gd name="T22" fmla="*/ 21 w 68"/>
                <a:gd name="T23" fmla="*/ 27 h 101"/>
                <a:gd name="T24" fmla="*/ 68 w 68"/>
                <a:gd name="T25" fmla="*/ 69 h 101"/>
                <a:gd name="T26" fmla="*/ 31 w 68"/>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01">
                  <a:moveTo>
                    <a:pt x="31" y="101"/>
                  </a:moveTo>
                  <a:cubicBezTo>
                    <a:pt x="21" y="101"/>
                    <a:pt x="12" y="99"/>
                    <a:pt x="0" y="96"/>
                  </a:cubicBezTo>
                  <a:cubicBezTo>
                    <a:pt x="3" y="83"/>
                    <a:pt x="3" y="83"/>
                    <a:pt x="3" y="83"/>
                  </a:cubicBezTo>
                  <a:cubicBezTo>
                    <a:pt x="13" y="85"/>
                    <a:pt x="20" y="86"/>
                    <a:pt x="27" y="86"/>
                  </a:cubicBezTo>
                  <a:cubicBezTo>
                    <a:pt x="41" y="86"/>
                    <a:pt x="48" y="81"/>
                    <a:pt x="48" y="72"/>
                  </a:cubicBezTo>
                  <a:cubicBezTo>
                    <a:pt x="48" y="64"/>
                    <a:pt x="45" y="61"/>
                    <a:pt x="31" y="57"/>
                  </a:cubicBezTo>
                  <a:cubicBezTo>
                    <a:pt x="14" y="52"/>
                    <a:pt x="1" y="47"/>
                    <a:pt x="1" y="29"/>
                  </a:cubicBezTo>
                  <a:cubicBezTo>
                    <a:pt x="1" y="10"/>
                    <a:pt x="14" y="0"/>
                    <a:pt x="35" y="0"/>
                  </a:cubicBezTo>
                  <a:cubicBezTo>
                    <a:pt x="43" y="0"/>
                    <a:pt x="52" y="1"/>
                    <a:pt x="63" y="5"/>
                  </a:cubicBezTo>
                  <a:cubicBezTo>
                    <a:pt x="60" y="17"/>
                    <a:pt x="60" y="17"/>
                    <a:pt x="60" y="17"/>
                  </a:cubicBezTo>
                  <a:cubicBezTo>
                    <a:pt x="53" y="16"/>
                    <a:pt x="45" y="14"/>
                    <a:pt x="37" y="14"/>
                  </a:cubicBezTo>
                  <a:cubicBezTo>
                    <a:pt x="27" y="14"/>
                    <a:pt x="21" y="19"/>
                    <a:pt x="21" y="27"/>
                  </a:cubicBezTo>
                  <a:cubicBezTo>
                    <a:pt x="21" y="47"/>
                    <a:pt x="68" y="34"/>
                    <a:pt x="68" y="69"/>
                  </a:cubicBezTo>
                  <a:cubicBezTo>
                    <a:pt x="68" y="89"/>
                    <a:pt x="54" y="101"/>
                    <a:pt x="31" y="101"/>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8"/>
            <p:cNvSpPr>
              <a:spLocks/>
            </p:cNvSpPr>
            <p:nvPr userDrawn="1"/>
          </p:nvSpPr>
          <p:spPr bwMode="auto">
            <a:xfrm>
              <a:off x="-1262343" y="464252"/>
              <a:ext cx="187325" cy="354013"/>
            </a:xfrm>
            <a:custGeom>
              <a:avLst/>
              <a:gdLst>
                <a:gd name="T0" fmla="*/ 39 w 67"/>
                <a:gd name="T1" fmla="*/ 126 h 126"/>
                <a:gd name="T2" fmla="*/ 19 w 67"/>
                <a:gd name="T3" fmla="*/ 115 h 126"/>
                <a:gd name="T4" fmla="*/ 17 w 67"/>
                <a:gd name="T5" fmla="*/ 93 h 126"/>
                <a:gd name="T6" fmla="*/ 17 w 67"/>
                <a:gd name="T7" fmla="*/ 40 h 126"/>
                <a:gd name="T8" fmla="*/ 0 w 67"/>
                <a:gd name="T9" fmla="*/ 40 h 126"/>
                <a:gd name="T10" fmla="*/ 0 w 67"/>
                <a:gd name="T11" fmla="*/ 29 h 126"/>
                <a:gd name="T12" fmla="*/ 17 w 67"/>
                <a:gd name="T13" fmla="*/ 27 h 126"/>
                <a:gd name="T14" fmla="*/ 17 w 67"/>
                <a:gd name="T15" fmla="*/ 0 h 126"/>
                <a:gd name="T16" fmla="*/ 37 w 67"/>
                <a:gd name="T17" fmla="*/ 0 h 126"/>
                <a:gd name="T18" fmla="*/ 37 w 67"/>
                <a:gd name="T19" fmla="*/ 27 h 126"/>
                <a:gd name="T20" fmla="*/ 63 w 67"/>
                <a:gd name="T21" fmla="*/ 27 h 126"/>
                <a:gd name="T22" fmla="*/ 63 w 67"/>
                <a:gd name="T23" fmla="*/ 40 h 126"/>
                <a:gd name="T24" fmla="*/ 37 w 67"/>
                <a:gd name="T25" fmla="*/ 40 h 126"/>
                <a:gd name="T26" fmla="*/ 37 w 67"/>
                <a:gd name="T27" fmla="*/ 87 h 126"/>
                <a:gd name="T28" fmla="*/ 38 w 67"/>
                <a:gd name="T29" fmla="*/ 106 h 126"/>
                <a:gd name="T30" fmla="*/ 47 w 67"/>
                <a:gd name="T31" fmla="*/ 110 h 126"/>
                <a:gd name="T32" fmla="*/ 64 w 67"/>
                <a:gd name="T33" fmla="*/ 107 h 126"/>
                <a:gd name="T34" fmla="*/ 67 w 67"/>
                <a:gd name="T35" fmla="*/ 120 h 126"/>
                <a:gd name="T36" fmla="*/ 39 w 67"/>
                <a:gd name="T3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126">
                  <a:moveTo>
                    <a:pt x="39" y="126"/>
                  </a:moveTo>
                  <a:cubicBezTo>
                    <a:pt x="30" y="126"/>
                    <a:pt x="23" y="122"/>
                    <a:pt x="19" y="115"/>
                  </a:cubicBezTo>
                  <a:cubicBezTo>
                    <a:pt x="17" y="111"/>
                    <a:pt x="17" y="106"/>
                    <a:pt x="17" y="93"/>
                  </a:cubicBezTo>
                  <a:cubicBezTo>
                    <a:pt x="17" y="40"/>
                    <a:pt x="17" y="40"/>
                    <a:pt x="17" y="40"/>
                  </a:cubicBezTo>
                  <a:cubicBezTo>
                    <a:pt x="0" y="40"/>
                    <a:pt x="0" y="40"/>
                    <a:pt x="0" y="40"/>
                  </a:cubicBezTo>
                  <a:cubicBezTo>
                    <a:pt x="0" y="29"/>
                    <a:pt x="0" y="29"/>
                    <a:pt x="0" y="29"/>
                  </a:cubicBezTo>
                  <a:cubicBezTo>
                    <a:pt x="17" y="27"/>
                    <a:pt x="17" y="27"/>
                    <a:pt x="17" y="27"/>
                  </a:cubicBezTo>
                  <a:cubicBezTo>
                    <a:pt x="17" y="0"/>
                    <a:pt x="17" y="0"/>
                    <a:pt x="17" y="0"/>
                  </a:cubicBezTo>
                  <a:cubicBezTo>
                    <a:pt x="37" y="0"/>
                    <a:pt x="37" y="0"/>
                    <a:pt x="37" y="0"/>
                  </a:cubicBezTo>
                  <a:cubicBezTo>
                    <a:pt x="37" y="27"/>
                    <a:pt x="37" y="27"/>
                    <a:pt x="37" y="27"/>
                  </a:cubicBezTo>
                  <a:cubicBezTo>
                    <a:pt x="63" y="27"/>
                    <a:pt x="63" y="27"/>
                    <a:pt x="63" y="27"/>
                  </a:cubicBezTo>
                  <a:cubicBezTo>
                    <a:pt x="63" y="40"/>
                    <a:pt x="63" y="40"/>
                    <a:pt x="63" y="40"/>
                  </a:cubicBezTo>
                  <a:cubicBezTo>
                    <a:pt x="37" y="40"/>
                    <a:pt x="37" y="40"/>
                    <a:pt x="37" y="40"/>
                  </a:cubicBezTo>
                  <a:cubicBezTo>
                    <a:pt x="37" y="87"/>
                    <a:pt x="37" y="87"/>
                    <a:pt x="37" y="87"/>
                  </a:cubicBezTo>
                  <a:cubicBezTo>
                    <a:pt x="37" y="104"/>
                    <a:pt x="37" y="104"/>
                    <a:pt x="38" y="106"/>
                  </a:cubicBezTo>
                  <a:cubicBezTo>
                    <a:pt x="40" y="109"/>
                    <a:pt x="43" y="110"/>
                    <a:pt x="47" y="110"/>
                  </a:cubicBezTo>
                  <a:cubicBezTo>
                    <a:pt x="52" y="110"/>
                    <a:pt x="56" y="109"/>
                    <a:pt x="64" y="107"/>
                  </a:cubicBezTo>
                  <a:cubicBezTo>
                    <a:pt x="67" y="120"/>
                    <a:pt x="67" y="120"/>
                    <a:pt x="67" y="120"/>
                  </a:cubicBezTo>
                  <a:cubicBezTo>
                    <a:pt x="55" y="124"/>
                    <a:pt x="47" y="126"/>
                    <a:pt x="39" y="1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9"/>
            <p:cNvSpPr>
              <a:spLocks noEditPoints="1"/>
            </p:cNvSpPr>
            <p:nvPr userDrawn="1"/>
          </p:nvSpPr>
          <p:spPr bwMode="auto">
            <a:xfrm>
              <a:off x="-1071843" y="530927"/>
              <a:ext cx="230187" cy="287338"/>
            </a:xfrm>
            <a:custGeom>
              <a:avLst/>
              <a:gdLst>
                <a:gd name="T0" fmla="*/ 21 w 82"/>
                <a:gd name="T1" fmla="*/ 54 h 102"/>
                <a:gd name="T2" fmla="*/ 21 w 82"/>
                <a:gd name="T3" fmla="*/ 57 h 102"/>
                <a:gd name="T4" fmla="*/ 45 w 82"/>
                <a:gd name="T5" fmla="*/ 85 h 102"/>
                <a:gd name="T6" fmla="*/ 77 w 82"/>
                <a:gd name="T7" fmla="*/ 79 h 102"/>
                <a:gd name="T8" fmla="*/ 81 w 82"/>
                <a:gd name="T9" fmla="*/ 90 h 102"/>
                <a:gd name="T10" fmla="*/ 39 w 82"/>
                <a:gd name="T11" fmla="*/ 102 h 102"/>
                <a:gd name="T12" fmla="*/ 0 w 82"/>
                <a:gd name="T13" fmla="*/ 54 h 102"/>
                <a:gd name="T14" fmla="*/ 43 w 82"/>
                <a:gd name="T15" fmla="*/ 0 h 102"/>
                <a:gd name="T16" fmla="*/ 82 w 82"/>
                <a:gd name="T17" fmla="*/ 49 h 102"/>
                <a:gd name="T18" fmla="*/ 82 w 82"/>
                <a:gd name="T19" fmla="*/ 54 h 102"/>
                <a:gd name="T20" fmla="*/ 21 w 82"/>
                <a:gd name="T21" fmla="*/ 54 h 102"/>
                <a:gd name="T22" fmla="*/ 44 w 82"/>
                <a:gd name="T23" fmla="*/ 14 h 102"/>
                <a:gd name="T24" fmla="*/ 22 w 82"/>
                <a:gd name="T25" fmla="*/ 42 h 102"/>
                <a:gd name="T26" fmla="*/ 63 w 82"/>
                <a:gd name="T27" fmla="*/ 40 h 102"/>
                <a:gd name="T28" fmla="*/ 44 w 82"/>
                <a:gd name="T2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102">
                  <a:moveTo>
                    <a:pt x="21" y="54"/>
                  </a:moveTo>
                  <a:cubicBezTo>
                    <a:pt x="21" y="57"/>
                    <a:pt x="21" y="57"/>
                    <a:pt x="21" y="57"/>
                  </a:cubicBezTo>
                  <a:cubicBezTo>
                    <a:pt x="21" y="76"/>
                    <a:pt x="29" y="85"/>
                    <a:pt x="45" y="85"/>
                  </a:cubicBezTo>
                  <a:cubicBezTo>
                    <a:pt x="53" y="85"/>
                    <a:pt x="61" y="84"/>
                    <a:pt x="77" y="79"/>
                  </a:cubicBezTo>
                  <a:cubicBezTo>
                    <a:pt x="81" y="90"/>
                    <a:pt x="81" y="90"/>
                    <a:pt x="81" y="90"/>
                  </a:cubicBezTo>
                  <a:cubicBezTo>
                    <a:pt x="61" y="99"/>
                    <a:pt x="51" y="102"/>
                    <a:pt x="39" y="102"/>
                  </a:cubicBezTo>
                  <a:cubicBezTo>
                    <a:pt x="15" y="102"/>
                    <a:pt x="0" y="84"/>
                    <a:pt x="0" y="54"/>
                  </a:cubicBezTo>
                  <a:cubicBezTo>
                    <a:pt x="0" y="22"/>
                    <a:pt x="16" y="0"/>
                    <a:pt x="43" y="0"/>
                  </a:cubicBezTo>
                  <a:cubicBezTo>
                    <a:pt x="69" y="0"/>
                    <a:pt x="82" y="16"/>
                    <a:pt x="82" y="49"/>
                  </a:cubicBezTo>
                  <a:cubicBezTo>
                    <a:pt x="82" y="54"/>
                    <a:pt x="82" y="54"/>
                    <a:pt x="82" y="54"/>
                  </a:cubicBezTo>
                  <a:lnTo>
                    <a:pt x="21" y="54"/>
                  </a:lnTo>
                  <a:close/>
                  <a:moveTo>
                    <a:pt x="44" y="14"/>
                  </a:moveTo>
                  <a:cubicBezTo>
                    <a:pt x="31" y="14"/>
                    <a:pt x="24" y="24"/>
                    <a:pt x="22" y="42"/>
                  </a:cubicBezTo>
                  <a:cubicBezTo>
                    <a:pt x="63" y="40"/>
                    <a:pt x="63" y="40"/>
                    <a:pt x="63" y="40"/>
                  </a:cubicBezTo>
                  <a:cubicBezTo>
                    <a:pt x="63" y="23"/>
                    <a:pt x="57" y="14"/>
                    <a:pt x="44"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0"/>
            <p:cNvSpPr>
              <a:spLocks noEditPoints="1"/>
            </p:cNvSpPr>
            <p:nvPr userDrawn="1"/>
          </p:nvSpPr>
          <p:spPr bwMode="auto">
            <a:xfrm>
              <a:off x="-816256" y="402339"/>
              <a:ext cx="234950" cy="415925"/>
            </a:xfrm>
            <a:custGeom>
              <a:avLst/>
              <a:gdLst>
                <a:gd name="T0" fmla="*/ 65 w 84"/>
                <a:gd name="T1" fmla="*/ 146 h 148"/>
                <a:gd name="T2" fmla="*/ 65 w 84"/>
                <a:gd name="T3" fmla="*/ 137 h 148"/>
                <a:gd name="T4" fmla="*/ 33 w 84"/>
                <a:gd name="T5" fmla="*/ 148 h 148"/>
                <a:gd name="T6" fmla="*/ 0 w 84"/>
                <a:gd name="T7" fmla="*/ 97 h 148"/>
                <a:gd name="T8" fmla="*/ 35 w 84"/>
                <a:gd name="T9" fmla="*/ 46 h 148"/>
                <a:gd name="T10" fmla="*/ 64 w 84"/>
                <a:gd name="T11" fmla="*/ 57 h 148"/>
                <a:gd name="T12" fmla="*/ 64 w 84"/>
                <a:gd name="T13" fmla="*/ 0 h 148"/>
                <a:gd name="T14" fmla="*/ 84 w 84"/>
                <a:gd name="T15" fmla="*/ 0 h 148"/>
                <a:gd name="T16" fmla="*/ 84 w 84"/>
                <a:gd name="T17" fmla="*/ 146 h 148"/>
                <a:gd name="T18" fmla="*/ 65 w 84"/>
                <a:gd name="T19" fmla="*/ 146 h 148"/>
                <a:gd name="T20" fmla="*/ 64 w 84"/>
                <a:gd name="T21" fmla="*/ 69 h 148"/>
                <a:gd name="T22" fmla="*/ 42 w 84"/>
                <a:gd name="T23" fmla="*/ 64 h 148"/>
                <a:gd name="T24" fmla="*/ 21 w 84"/>
                <a:gd name="T25" fmla="*/ 97 h 148"/>
                <a:gd name="T26" fmla="*/ 41 w 84"/>
                <a:gd name="T27" fmla="*/ 131 h 148"/>
                <a:gd name="T28" fmla="*/ 64 w 84"/>
                <a:gd name="T29" fmla="*/ 125 h 148"/>
                <a:gd name="T30" fmla="*/ 64 w 84"/>
                <a:gd name="T31" fmla="*/ 6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148">
                  <a:moveTo>
                    <a:pt x="65" y="146"/>
                  </a:moveTo>
                  <a:cubicBezTo>
                    <a:pt x="65" y="137"/>
                    <a:pt x="65" y="137"/>
                    <a:pt x="65" y="137"/>
                  </a:cubicBezTo>
                  <a:cubicBezTo>
                    <a:pt x="54" y="143"/>
                    <a:pt x="43" y="148"/>
                    <a:pt x="33" y="148"/>
                  </a:cubicBezTo>
                  <a:cubicBezTo>
                    <a:pt x="12" y="148"/>
                    <a:pt x="0" y="129"/>
                    <a:pt x="0" y="97"/>
                  </a:cubicBezTo>
                  <a:cubicBezTo>
                    <a:pt x="0" y="66"/>
                    <a:pt x="14" y="46"/>
                    <a:pt x="35" y="46"/>
                  </a:cubicBezTo>
                  <a:cubicBezTo>
                    <a:pt x="46" y="46"/>
                    <a:pt x="55" y="52"/>
                    <a:pt x="64" y="57"/>
                  </a:cubicBezTo>
                  <a:cubicBezTo>
                    <a:pt x="64" y="0"/>
                    <a:pt x="64" y="0"/>
                    <a:pt x="64" y="0"/>
                  </a:cubicBezTo>
                  <a:cubicBezTo>
                    <a:pt x="84" y="0"/>
                    <a:pt x="84" y="0"/>
                    <a:pt x="84" y="0"/>
                  </a:cubicBezTo>
                  <a:cubicBezTo>
                    <a:pt x="84" y="146"/>
                    <a:pt x="84" y="146"/>
                    <a:pt x="84" y="146"/>
                  </a:cubicBezTo>
                  <a:lnTo>
                    <a:pt x="65" y="146"/>
                  </a:lnTo>
                  <a:close/>
                  <a:moveTo>
                    <a:pt x="64" y="69"/>
                  </a:moveTo>
                  <a:cubicBezTo>
                    <a:pt x="52" y="65"/>
                    <a:pt x="48" y="64"/>
                    <a:pt x="42" y="64"/>
                  </a:cubicBezTo>
                  <a:cubicBezTo>
                    <a:pt x="28" y="64"/>
                    <a:pt x="21" y="75"/>
                    <a:pt x="21" y="97"/>
                  </a:cubicBezTo>
                  <a:cubicBezTo>
                    <a:pt x="21" y="120"/>
                    <a:pt x="28" y="131"/>
                    <a:pt x="41" y="131"/>
                  </a:cubicBezTo>
                  <a:cubicBezTo>
                    <a:pt x="47" y="131"/>
                    <a:pt x="52" y="129"/>
                    <a:pt x="64" y="125"/>
                  </a:cubicBezTo>
                  <a:lnTo>
                    <a:pt x="64" y="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21"/>
            <p:cNvSpPr>
              <a:spLocks/>
            </p:cNvSpPr>
            <p:nvPr userDrawn="1"/>
          </p:nvSpPr>
          <p:spPr bwMode="auto">
            <a:xfrm>
              <a:off x="-1973543" y="950027"/>
              <a:ext cx="46037" cy="98425"/>
            </a:xfrm>
            <a:custGeom>
              <a:avLst/>
              <a:gdLst>
                <a:gd name="T0" fmla="*/ 15 w 16"/>
                <a:gd name="T1" fmla="*/ 5 h 35"/>
                <a:gd name="T2" fmla="*/ 6 w 16"/>
                <a:gd name="T3" fmla="*/ 7 h 35"/>
                <a:gd name="T4" fmla="*/ 6 w 16"/>
                <a:gd name="T5" fmla="*/ 35 h 35"/>
                <a:gd name="T6" fmla="*/ 0 w 16"/>
                <a:gd name="T7" fmla="*/ 35 h 35"/>
                <a:gd name="T8" fmla="*/ 0 w 16"/>
                <a:gd name="T9" fmla="*/ 0 h 35"/>
                <a:gd name="T10" fmla="*/ 5 w 16"/>
                <a:gd name="T11" fmla="*/ 0 h 35"/>
                <a:gd name="T12" fmla="*/ 5 w 16"/>
                <a:gd name="T13" fmla="*/ 3 h 35"/>
                <a:gd name="T14" fmla="*/ 15 w 16"/>
                <a:gd name="T15" fmla="*/ 0 h 35"/>
                <a:gd name="T16" fmla="*/ 16 w 16"/>
                <a:gd name="T17" fmla="*/ 0 h 35"/>
                <a:gd name="T18" fmla="*/ 16 w 16"/>
                <a:gd name="T19" fmla="*/ 5 h 35"/>
                <a:gd name="T20" fmla="*/ 15 w 16"/>
                <a:gd name="T21"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5">
                  <a:moveTo>
                    <a:pt x="15" y="5"/>
                  </a:moveTo>
                  <a:cubicBezTo>
                    <a:pt x="12" y="5"/>
                    <a:pt x="9" y="5"/>
                    <a:pt x="6" y="7"/>
                  </a:cubicBezTo>
                  <a:cubicBezTo>
                    <a:pt x="6" y="35"/>
                    <a:pt x="6" y="35"/>
                    <a:pt x="6" y="35"/>
                  </a:cubicBezTo>
                  <a:cubicBezTo>
                    <a:pt x="0" y="35"/>
                    <a:pt x="0" y="35"/>
                    <a:pt x="0" y="35"/>
                  </a:cubicBezTo>
                  <a:cubicBezTo>
                    <a:pt x="0" y="0"/>
                    <a:pt x="0" y="0"/>
                    <a:pt x="0" y="0"/>
                  </a:cubicBezTo>
                  <a:cubicBezTo>
                    <a:pt x="5" y="0"/>
                    <a:pt x="5" y="0"/>
                    <a:pt x="5" y="0"/>
                  </a:cubicBezTo>
                  <a:cubicBezTo>
                    <a:pt x="5" y="3"/>
                    <a:pt x="5" y="3"/>
                    <a:pt x="5" y="3"/>
                  </a:cubicBezTo>
                  <a:cubicBezTo>
                    <a:pt x="9" y="1"/>
                    <a:pt x="11" y="0"/>
                    <a:pt x="15" y="0"/>
                  </a:cubicBezTo>
                  <a:cubicBezTo>
                    <a:pt x="15" y="0"/>
                    <a:pt x="16" y="0"/>
                    <a:pt x="16" y="0"/>
                  </a:cubicBezTo>
                  <a:cubicBezTo>
                    <a:pt x="16" y="5"/>
                    <a:pt x="16" y="5"/>
                    <a:pt x="16" y="5"/>
                  </a:cubicBezTo>
                  <a:cubicBezTo>
                    <a:pt x="15" y="5"/>
                    <a:pt x="15" y="5"/>
                    <a:pt x="1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2"/>
            <p:cNvSpPr>
              <a:spLocks noEditPoints="1"/>
            </p:cNvSpPr>
            <p:nvPr userDrawn="1"/>
          </p:nvSpPr>
          <p:spPr bwMode="auto">
            <a:xfrm>
              <a:off x="-1919568" y="946852"/>
              <a:ext cx="69850" cy="104775"/>
            </a:xfrm>
            <a:custGeom>
              <a:avLst/>
              <a:gdLst>
                <a:gd name="T0" fmla="*/ 20 w 25"/>
                <a:gd name="T1" fmla="*/ 36 h 37"/>
                <a:gd name="T2" fmla="*/ 20 w 25"/>
                <a:gd name="T3" fmla="*/ 33 h 37"/>
                <a:gd name="T4" fmla="*/ 9 w 25"/>
                <a:gd name="T5" fmla="*/ 37 h 37"/>
                <a:gd name="T6" fmla="*/ 0 w 25"/>
                <a:gd name="T7" fmla="*/ 26 h 37"/>
                <a:gd name="T8" fmla="*/ 7 w 25"/>
                <a:gd name="T9" fmla="*/ 16 h 37"/>
                <a:gd name="T10" fmla="*/ 20 w 25"/>
                <a:gd name="T11" fmla="*/ 15 h 37"/>
                <a:gd name="T12" fmla="*/ 20 w 25"/>
                <a:gd name="T13" fmla="*/ 14 h 37"/>
                <a:gd name="T14" fmla="*/ 13 w 25"/>
                <a:gd name="T15" fmla="*/ 5 h 37"/>
                <a:gd name="T16" fmla="*/ 3 w 25"/>
                <a:gd name="T17" fmla="*/ 7 h 37"/>
                <a:gd name="T18" fmla="*/ 2 w 25"/>
                <a:gd name="T19" fmla="*/ 3 h 37"/>
                <a:gd name="T20" fmla="*/ 16 w 25"/>
                <a:gd name="T21" fmla="*/ 0 h 37"/>
                <a:gd name="T22" fmla="*/ 23 w 25"/>
                <a:gd name="T23" fmla="*/ 3 h 37"/>
                <a:gd name="T24" fmla="*/ 25 w 25"/>
                <a:gd name="T25" fmla="*/ 14 h 37"/>
                <a:gd name="T26" fmla="*/ 25 w 25"/>
                <a:gd name="T27" fmla="*/ 36 h 37"/>
                <a:gd name="T28" fmla="*/ 20 w 25"/>
                <a:gd name="T29" fmla="*/ 36 h 37"/>
                <a:gd name="T30" fmla="*/ 20 w 25"/>
                <a:gd name="T31" fmla="*/ 19 h 37"/>
                <a:gd name="T32" fmla="*/ 6 w 25"/>
                <a:gd name="T33" fmla="*/ 26 h 37"/>
                <a:gd name="T34" fmla="*/ 11 w 25"/>
                <a:gd name="T35" fmla="*/ 32 h 37"/>
                <a:gd name="T36" fmla="*/ 20 w 25"/>
                <a:gd name="T37" fmla="*/ 30 h 37"/>
                <a:gd name="T38" fmla="*/ 20 w 25"/>
                <a:gd name="T3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7">
                  <a:moveTo>
                    <a:pt x="20" y="36"/>
                  </a:moveTo>
                  <a:cubicBezTo>
                    <a:pt x="20" y="33"/>
                    <a:pt x="20" y="33"/>
                    <a:pt x="20" y="33"/>
                  </a:cubicBezTo>
                  <a:cubicBezTo>
                    <a:pt x="16" y="36"/>
                    <a:pt x="12" y="37"/>
                    <a:pt x="9" y="37"/>
                  </a:cubicBezTo>
                  <a:cubicBezTo>
                    <a:pt x="5" y="37"/>
                    <a:pt x="0" y="34"/>
                    <a:pt x="0" y="26"/>
                  </a:cubicBezTo>
                  <a:cubicBezTo>
                    <a:pt x="0" y="20"/>
                    <a:pt x="3" y="17"/>
                    <a:pt x="7" y="16"/>
                  </a:cubicBezTo>
                  <a:cubicBezTo>
                    <a:pt x="9" y="15"/>
                    <a:pt x="13" y="15"/>
                    <a:pt x="20" y="15"/>
                  </a:cubicBezTo>
                  <a:cubicBezTo>
                    <a:pt x="20" y="14"/>
                    <a:pt x="20" y="14"/>
                    <a:pt x="20" y="14"/>
                  </a:cubicBezTo>
                  <a:cubicBezTo>
                    <a:pt x="20" y="8"/>
                    <a:pt x="20" y="5"/>
                    <a:pt x="13" y="5"/>
                  </a:cubicBezTo>
                  <a:cubicBezTo>
                    <a:pt x="11" y="5"/>
                    <a:pt x="7" y="6"/>
                    <a:pt x="3" y="7"/>
                  </a:cubicBezTo>
                  <a:cubicBezTo>
                    <a:pt x="2" y="3"/>
                    <a:pt x="2" y="3"/>
                    <a:pt x="2" y="3"/>
                  </a:cubicBezTo>
                  <a:cubicBezTo>
                    <a:pt x="8" y="1"/>
                    <a:pt x="12" y="0"/>
                    <a:pt x="16" y="0"/>
                  </a:cubicBezTo>
                  <a:cubicBezTo>
                    <a:pt x="19" y="0"/>
                    <a:pt x="22" y="1"/>
                    <a:pt x="23" y="3"/>
                  </a:cubicBezTo>
                  <a:cubicBezTo>
                    <a:pt x="25" y="5"/>
                    <a:pt x="25" y="7"/>
                    <a:pt x="25" y="14"/>
                  </a:cubicBezTo>
                  <a:cubicBezTo>
                    <a:pt x="25" y="36"/>
                    <a:pt x="25" y="36"/>
                    <a:pt x="25" y="36"/>
                  </a:cubicBezTo>
                  <a:lnTo>
                    <a:pt x="20" y="36"/>
                  </a:lnTo>
                  <a:close/>
                  <a:moveTo>
                    <a:pt x="20" y="19"/>
                  </a:moveTo>
                  <a:cubicBezTo>
                    <a:pt x="8" y="20"/>
                    <a:pt x="6" y="21"/>
                    <a:pt x="6" y="26"/>
                  </a:cubicBezTo>
                  <a:cubicBezTo>
                    <a:pt x="6" y="30"/>
                    <a:pt x="8" y="32"/>
                    <a:pt x="11" y="32"/>
                  </a:cubicBezTo>
                  <a:cubicBezTo>
                    <a:pt x="14" y="32"/>
                    <a:pt x="20" y="30"/>
                    <a:pt x="20" y="30"/>
                  </a:cubicBezTo>
                  <a:lnTo>
                    <a:pt x="2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3"/>
            <p:cNvSpPr>
              <a:spLocks noEditPoints="1"/>
            </p:cNvSpPr>
            <p:nvPr userDrawn="1"/>
          </p:nvSpPr>
          <p:spPr bwMode="auto">
            <a:xfrm>
              <a:off x="-1821143" y="908752"/>
              <a:ext cx="19050" cy="139700"/>
            </a:xfrm>
            <a:custGeom>
              <a:avLst/>
              <a:gdLst>
                <a:gd name="T0" fmla="*/ 3 w 7"/>
                <a:gd name="T1" fmla="*/ 8 h 50"/>
                <a:gd name="T2" fmla="*/ 0 w 7"/>
                <a:gd name="T3" fmla="*/ 4 h 50"/>
                <a:gd name="T4" fmla="*/ 3 w 7"/>
                <a:gd name="T5" fmla="*/ 0 h 50"/>
                <a:gd name="T6" fmla="*/ 7 w 7"/>
                <a:gd name="T7" fmla="*/ 4 h 50"/>
                <a:gd name="T8" fmla="*/ 3 w 7"/>
                <a:gd name="T9" fmla="*/ 8 h 50"/>
                <a:gd name="T10" fmla="*/ 1 w 7"/>
                <a:gd name="T11" fmla="*/ 15 h 50"/>
                <a:gd name="T12" fmla="*/ 6 w 7"/>
                <a:gd name="T13" fmla="*/ 15 h 50"/>
                <a:gd name="T14" fmla="*/ 6 w 7"/>
                <a:gd name="T15" fmla="*/ 50 h 50"/>
                <a:gd name="T16" fmla="*/ 1 w 7"/>
                <a:gd name="T17" fmla="*/ 50 h 50"/>
                <a:gd name="T18" fmla="*/ 1 w 7"/>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3" y="8"/>
                  </a:moveTo>
                  <a:cubicBezTo>
                    <a:pt x="1" y="8"/>
                    <a:pt x="0" y="6"/>
                    <a:pt x="0" y="4"/>
                  </a:cubicBezTo>
                  <a:cubicBezTo>
                    <a:pt x="0" y="2"/>
                    <a:pt x="1" y="0"/>
                    <a:pt x="3" y="0"/>
                  </a:cubicBezTo>
                  <a:cubicBezTo>
                    <a:pt x="5" y="0"/>
                    <a:pt x="7" y="2"/>
                    <a:pt x="7" y="4"/>
                  </a:cubicBezTo>
                  <a:cubicBezTo>
                    <a:pt x="7" y="6"/>
                    <a:pt x="5" y="8"/>
                    <a:pt x="3" y="8"/>
                  </a:cubicBezTo>
                  <a:moveTo>
                    <a:pt x="1" y="15"/>
                  </a:moveTo>
                  <a:cubicBezTo>
                    <a:pt x="6" y="15"/>
                    <a:pt x="6" y="15"/>
                    <a:pt x="6" y="15"/>
                  </a:cubicBezTo>
                  <a:cubicBezTo>
                    <a:pt x="6" y="50"/>
                    <a:pt x="6" y="50"/>
                    <a:pt x="6" y="50"/>
                  </a:cubicBezTo>
                  <a:cubicBezTo>
                    <a:pt x="1" y="50"/>
                    <a:pt x="1" y="50"/>
                    <a:pt x="1" y="50"/>
                  </a:cubicBezTo>
                  <a:lnTo>
                    <a:pt x="1"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userDrawn="1"/>
          </p:nvSpPr>
          <p:spPr bwMode="auto">
            <a:xfrm>
              <a:off x="-1781456" y="946852"/>
              <a:ext cx="63500" cy="104775"/>
            </a:xfrm>
            <a:custGeom>
              <a:avLst/>
              <a:gdLst>
                <a:gd name="T0" fmla="*/ 10 w 23"/>
                <a:gd name="T1" fmla="*/ 37 h 37"/>
                <a:gd name="T2" fmla="*/ 0 w 23"/>
                <a:gd name="T3" fmla="*/ 35 h 37"/>
                <a:gd name="T4" fmla="*/ 1 w 23"/>
                <a:gd name="T5" fmla="*/ 31 h 37"/>
                <a:gd name="T6" fmla="*/ 9 w 23"/>
                <a:gd name="T7" fmla="*/ 32 h 37"/>
                <a:gd name="T8" fmla="*/ 17 w 23"/>
                <a:gd name="T9" fmla="*/ 27 h 37"/>
                <a:gd name="T10" fmla="*/ 11 w 23"/>
                <a:gd name="T11" fmla="*/ 21 h 37"/>
                <a:gd name="T12" fmla="*/ 0 w 23"/>
                <a:gd name="T13" fmla="*/ 11 h 37"/>
                <a:gd name="T14" fmla="*/ 12 w 23"/>
                <a:gd name="T15" fmla="*/ 0 h 37"/>
                <a:gd name="T16" fmla="*/ 21 w 23"/>
                <a:gd name="T17" fmla="*/ 2 h 37"/>
                <a:gd name="T18" fmla="*/ 20 w 23"/>
                <a:gd name="T19" fmla="*/ 6 h 37"/>
                <a:gd name="T20" fmla="*/ 12 w 23"/>
                <a:gd name="T21" fmla="*/ 5 h 37"/>
                <a:gd name="T22" fmla="*/ 6 w 23"/>
                <a:gd name="T23" fmla="*/ 10 h 37"/>
                <a:gd name="T24" fmla="*/ 23 w 23"/>
                <a:gd name="T25" fmla="*/ 26 h 37"/>
                <a:gd name="T26" fmla="*/ 10 w 23"/>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37">
                  <a:moveTo>
                    <a:pt x="10" y="37"/>
                  </a:moveTo>
                  <a:cubicBezTo>
                    <a:pt x="7" y="37"/>
                    <a:pt x="4" y="37"/>
                    <a:pt x="0" y="35"/>
                  </a:cubicBezTo>
                  <a:cubicBezTo>
                    <a:pt x="1" y="31"/>
                    <a:pt x="1" y="31"/>
                    <a:pt x="1" y="31"/>
                  </a:cubicBezTo>
                  <a:cubicBezTo>
                    <a:pt x="4" y="32"/>
                    <a:pt x="7" y="32"/>
                    <a:pt x="9" y="32"/>
                  </a:cubicBezTo>
                  <a:cubicBezTo>
                    <a:pt x="14" y="32"/>
                    <a:pt x="17" y="30"/>
                    <a:pt x="17" y="27"/>
                  </a:cubicBezTo>
                  <a:cubicBezTo>
                    <a:pt x="17" y="24"/>
                    <a:pt x="16" y="22"/>
                    <a:pt x="11" y="21"/>
                  </a:cubicBezTo>
                  <a:cubicBezTo>
                    <a:pt x="5" y="19"/>
                    <a:pt x="0" y="17"/>
                    <a:pt x="0" y="11"/>
                  </a:cubicBezTo>
                  <a:cubicBezTo>
                    <a:pt x="0" y="4"/>
                    <a:pt x="4" y="0"/>
                    <a:pt x="12" y="0"/>
                  </a:cubicBezTo>
                  <a:cubicBezTo>
                    <a:pt x="14" y="0"/>
                    <a:pt x="17" y="1"/>
                    <a:pt x="21" y="2"/>
                  </a:cubicBezTo>
                  <a:cubicBezTo>
                    <a:pt x="20" y="6"/>
                    <a:pt x="20" y="6"/>
                    <a:pt x="20" y="6"/>
                  </a:cubicBezTo>
                  <a:cubicBezTo>
                    <a:pt x="17" y="5"/>
                    <a:pt x="14" y="5"/>
                    <a:pt x="12" y="5"/>
                  </a:cubicBezTo>
                  <a:cubicBezTo>
                    <a:pt x="8" y="5"/>
                    <a:pt x="6" y="7"/>
                    <a:pt x="6" y="10"/>
                  </a:cubicBezTo>
                  <a:cubicBezTo>
                    <a:pt x="6" y="18"/>
                    <a:pt x="23" y="14"/>
                    <a:pt x="23" y="26"/>
                  </a:cubicBezTo>
                  <a:cubicBezTo>
                    <a:pt x="23" y="33"/>
                    <a:pt x="18" y="37"/>
                    <a:pt x="10" y="3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noEditPoints="1"/>
            </p:cNvSpPr>
            <p:nvPr userDrawn="1"/>
          </p:nvSpPr>
          <p:spPr bwMode="auto">
            <a:xfrm>
              <a:off x="-1697318" y="908752"/>
              <a:ext cx="19050" cy="139700"/>
            </a:xfrm>
            <a:custGeom>
              <a:avLst/>
              <a:gdLst>
                <a:gd name="T0" fmla="*/ 3 w 7"/>
                <a:gd name="T1" fmla="*/ 8 h 50"/>
                <a:gd name="T2" fmla="*/ 0 w 7"/>
                <a:gd name="T3" fmla="*/ 4 h 50"/>
                <a:gd name="T4" fmla="*/ 3 w 7"/>
                <a:gd name="T5" fmla="*/ 0 h 50"/>
                <a:gd name="T6" fmla="*/ 7 w 7"/>
                <a:gd name="T7" fmla="*/ 4 h 50"/>
                <a:gd name="T8" fmla="*/ 3 w 7"/>
                <a:gd name="T9" fmla="*/ 8 h 50"/>
                <a:gd name="T10" fmla="*/ 0 w 7"/>
                <a:gd name="T11" fmla="*/ 15 h 50"/>
                <a:gd name="T12" fmla="*/ 6 w 7"/>
                <a:gd name="T13" fmla="*/ 15 h 50"/>
                <a:gd name="T14" fmla="*/ 6 w 7"/>
                <a:gd name="T15" fmla="*/ 50 h 50"/>
                <a:gd name="T16" fmla="*/ 0 w 7"/>
                <a:gd name="T17" fmla="*/ 50 h 50"/>
                <a:gd name="T18" fmla="*/ 0 w 7"/>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3" y="8"/>
                  </a:moveTo>
                  <a:cubicBezTo>
                    <a:pt x="1" y="8"/>
                    <a:pt x="0" y="6"/>
                    <a:pt x="0" y="4"/>
                  </a:cubicBezTo>
                  <a:cubicBezTo>
                    <a:pt x="0" y="2"/>
                    <a:pt x="1" y="0"/>
                    <a:pt x="3" y="0"/>
                  </a:cubicBezTo>
                  <a:cubicBezTo>
                    <a:pt x="5" y="0"/>
                    <a:pt x="7" y="2"/>
                    <a:pt x="7" y="4"/>
                  </a:cubicBezTo>
                  <a:cubicBezTo>
                    <a:pt x="7" y="6"/>
                    <a:pt x="5" y="8"/>
                    <a:pt x="3" y="8"/>
                  </a:cubicBezTo>
                  <a:moveTo>
                    <a:pt x="0" y="15"/>
                  </a:moveTo>
                  <a:cubicBezTo>
                    <a:pt x="6" y="15"/>
                    <a:pt x="6" y="15"/>
                    <a:pt x="6" y="15"/>
                  </a:cubicBezTo>
                  <a:cubicBezTo>
                    <a:pt x="6" y="50"/>
                    <a:pt x="6" y="50"/>
                    <a:pt x="6" y="50"/>
                  </a:cubicBezTo>
                  <a:cubicBezTo>
                    <a:pt x="0" y="50"/>
                    <a:pt x="0" y="50"/>
                    <a:pt x="0" y="50"/>
                  </a:cubicBezTo>
                  <a:lnTo>
                    <a:pt x="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6"/>
            <p:cNvSpPr>
              <a:spLocks/>
            </p:cNvSpPr>
            <p:nvPr userDrawn="1"/>
          </p:nvSpPr>
          <p:spPr bwMode="auto">
            <a:xfrm>
              <a:off x="-1649693" y="946852"/>
              <a:ext cx="74612" cy="101600"/>
            </a:xfrm>
            <a:custGeom>
              <a:avLst/>
              <a:gdLst>
                <a:gd name="T0" fmla="*/ 21 w 27"/>
                <a:gd name="T1" fmla="*/ 36 h 36"/>
                <a:gd name="T2" fmla="*/ 21 w 27"/>
                <a:gd name="T3" fmla="*/ 15 h 36"/>
                <a:gd name="T4" fmla="*/ 16 w 27"/>
                <a:gd name="T5" fmla="*/ 5 h 36"/>
                <a:gd name="T6" fmla="*/ 5 w 27"/>
                <a:gd name="T7" fmla="*/ 7 h 36"/>
                <a:gd name="T8" fmla="*/ 5 w 27"/>
                <a:gd name="T9" fmla="*/ 36 h 36"/>
                <a:gd name="T10" fmla="*/ 0 w 27"/>
                <a:gd name="T11" fmla="*/ 36 h 36"/>
                <a:gd name="T12" fmla="*/ 0 w 27"/>
                <a:gd name="T13" fmla="*/ 1 h 36"/>
                <a:gd name="T14" fmla="*/ 5 w 27"/>
                <a:gd name="T15" fmla="*/ 1 h 36"/>
                <a:gd name="T16" fmla="*/ 5 w 27"/>
                <a:gd name="T17" fmla="*/ 4 h 36"/>
                <a:gd name="T18" fmla="*/ 17 w 27"/>
                <a:gd name="T19" fmla="*/ 0 h 36"/>
                <a:gd name="T20" fmla="*/ 25 w 27"/>
                <a:gd name="T21" fmla="*/ 4 h 36"/>
                <a:gd name="T22" fmla="*/ 27 w 27"/>
                <a:gd name="T23" fmla="*/ 13 h 36"/>
                <a:gd name="T24" fmla="*/ 27 w 27"/>
                <a:gd name="T25" fmla="*/ 36 h 36"/>
                <a:gd name="T26" fmla="*/ 21 w 27"/>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6">
                  <a:moveTo>
                    <a:pt x="21" y="36"/>
                  </a:moveTo>
                  <a:cubicBezTo>
                    <a:pt x="21" y="15"/>
                    <a:pt x="21" y="15"/>
                    <a:pt x="21" y="15"/>
                  </a:cubicBezTo>
                  <a:cubicBezTo>
                    <a:pt x="21" y="10"/>
                    <a:pt x="22" y="5"/>
                    <a:pt x="16" y="5"/>
                  </a:cubicBezTo>
                  <a:cubicBezTo>
                    <a:pt x="13" y="5"/>
                    <a:pt x="9" y="6"/>
                    <a:pt x="5" y="7"/>
                  </a:cubicBezTo>
                  <a:cubicBezTo>
                    <a:pt x="5" y="36"/>
                    <a:pt x="5" y="36"/>
                    <a:pt x="5" y="36"/>
                  </a:cubicBezTo>
                  <a:cubicBezTo>
                    <a:pt x="0" y="36"/>
                    <a:pt x="0" y="36"/>
                    <a:pt x="0" y="36"/>
                  </a:cubicBezTo>
                  <a:cubicBezTo>
                    <a:pt x="0" y="1"/>
                    <a:pt x="0" y="1"/>
                    <a:pt x="0" y="1"/>
                  </a:cubicBezTo>
                  <a:cubicBezTo>
                    <a:pt x="5" y="1"/>
                    <a:pt x="5" y="1"/>
                    <a:pt x="5" y="1"/>
                  </a:cubicBezTo>
                  <a:cubicBezTo>
                    <a:pt x="5" y="4"/>
                    <a:pt x="5" y="4"/>
                    <a:pt x="5" y="4"/>
                  </a:cubicBezTo>
                  <a:cubicBezTo>
                    <a:pt x="10" y="2"/>
                    <a:pt x="14" y="0"/>
                    <a:pt x="17" y="0"/>
                  </a:cubicBezTo>
                  <a:cubicBezTo>
                    <a:pt x="21" y="0"/>
                    <a:pt x="24" y="2"/>
                    <a:pt x="25" y="4"/>
                  </a:cubicBezTo>
                  <a:cubicBezTo>
                    <a:pt x="27" y="6"/>
                    <a:pt x="27" y="7"/>
                    <a:pt x="27" y="13"/>
                  </a:cubicBezTo>
                  <a:cubicBezTo>
                    <a:pt x="27" y="36"/>
                    <a:pt x="27" y="36"/>
                    <a:pt x="27" y="36"/>
                  </a:cubicBezTo>
                  <a:lnTo>
                    <a:pt x="21"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7"/>
            <p:cNvSpPr>
              <a:spLocks noEditPoints="1"/>
            </p:cNvSpPr>
            <p:nvPr userDrawn="1"/>
          </p:nvSpPr>
          <p:spPr bwMode="auto">
            <a:xfrm>
              <a:off x="-1551268" y="946852"/>
              <a:ext cx="80962" cy="146050"/>
            </a:xfrm>
            <a:custGeom>
              <a:avLst/>
              <a:gdLst>
                <a:gd name="T0" fmla="*/ 25 w 29"/>
                <a:gd name="T1" fmla="*/ 49 h 52"/>
                <a:gd name="T2" fmla="*/ 15 w 29"/>
                <a:gd name="T3" fmla="*/ 52 h 52"/>
                <a:gd name="T4" fmla="*/ 3 w 29"/>
                <a:gd name="T5" fmla="*/ 50 h 52"/>
                <a:gd name="T6" fmla="*/ 3 w 29"/>
                <a:gd name="T7" fmla="*/ 47 h 52"/>
                <a:gd name="T8" fmla="*/ 13 w 29"/>
                <a:gd name="T9" fmla="*/ 47 h 52"/>
                <a:gd name="T10" fmla="*/ 22 w 29"/>
                <a:gd name="T11" fmla="*/ 44 h 52"/>
                <a:gd name="T12" fmla="*/ 24 w 29"/>
                <a:gd name="T13" fmla="*/ 35 h 52"/>
                <a:gd name="T14" fmla="*/ 24 w 29"/>
                <a:gd name="T15" fmla="*/ 32 h 52"/>
                <a:gd name="T16" fmla="*/ 12 w 29"/>
                <a:gd name="T17" fmla="*/ 36 h 52"/>
                <a:gd name="T18" fmla="*/ 0 w 29"/>
                <a:gd name="T19" fmla="*/ 19 h 52"/>
                <a:gd name="T20" fmla="*/ 13 w 29"/>
                <a:gd name="T21" fmla="*/ 0 h 52"/>
                <a:gd name="T22" fmla="*/ 24 w 29"/>
                <a:gd name="T23" fmla="*/ 4 h 52"/>
                <a:gd name="T24" fmla="*/ 24 w 29"/>
                <a:gd name="T25" fmla="*/ 1 h 52"/>
                <a:gd name="T26" fmla="*/ 29 w 29"/>
                <a:gd name="T27" fmla="*/ 1 h 52"/>
                <a:gd name="T28" fmla="*/ 29 w 29"/>
                <a:gd name="T29" fmla="*/ 34 h 52"/>
                <a:gd name="T30" fmla="*/ 25 w 29"/>
                <a:gd name="T31" fmla="*/ 49 h 52"/>
                <a:gd name="T32" fmla="*/ 24 w 29"/>
                <a:gd name="T33" fmla="*/ 8 h 52"/>
                <a:gd name="T34" fmla="*/ 14 w 29"/>
                <a:gd name="T35" fmla="*/ 5 h 52"/>
                <a:gd name="T36" fmla="*/ 6 w 29"/>
                <a:gd name="T37" fmla="*/ 18 h 52"/>
                <a:gd name="T38" fmla="*/ 14 w 29"/>
                <a:gd name="T39" fmla="*/ 31 h 52"/>
                <a:gd name="T40" fmla="*/ 24 w 29"/>
                <a:gd name="T41" fmla="*/ 29 h 52"/>
                <a:gd name="T42" fmla="*/ 24 w 29"/>
                <a:gd name="T43"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52">
                  <a:moveTo>
                    <a:pt x="25" y="49"/>
                  </a:moveTo>
                  <a:cubicBezTo>
                    <a:pt x="22" y="51"/>
                    <a:pt x="19" y="52"/>
                    <a:pt x="15" y="52"/>
                  </a:cubicBezTo>
                  <a:cubicBezTo>
                    <a:pt x="12" y="52"/>
                    <a:pt x="9" y="52"/>
                    <a:pt x="3" y="50"/>
                  </a:cubicBezTo>
                  <a:cubicBezTo>
                    <a:pt x="3" y="47"/>
                    <a:pt x="3" y="47"/>
                    <a:pt x="3" y="47"/>
                  </a:cubicBezTo>
                  <a:cubicBezTo>
                    <a:pt x="8" y="47"/>
                    <a:pt x="10" y="47"/>
                    <a:pt x="13" y="47"/>
                  </a:cubicBezTo>
                  <a:cubicBezTo>
                    <a:pt x="18" y="47"/>
                    <a:pt x="21" y="46"/>
                    <a:pt x="22" y="44"/>
                  </a:cubicBezTo>
                  <a:cubicBezTo>
                    <a:pt x="23" y="42"/>
                    <a:pt x="24" y="40"/>
                    <a:pt x="24" y="35"/>
                  </a:cubicBezTo>
                  <a:cubicBezTo>
                    <a:pt x="24" y="32"/>
                    <a:pt x="24" y="32"/>
                    <a:pt x="24" y="32"/>
                  </a:cubicBezTo>
                  <a:cubicBezTo>
                    <a:pt x="19" y="35"/>
                    <a:pt x="15" y="36"/>
                    <a:pt x="12" y="36"/>
                  </a:cubicBezTo>
                  <a:cubicBezTo>
                    <a:pt x="4" y="36"/>
                    <a:pt x="0" y="30"/>
                    <a:pt x="0" y="19"/>
                  </a:cubicBezTo>
                  <a:cubicBezTo>
                    <a:pt x="0" y="8"/>
                    <a:pt x="5" y="0"/>
                    <a:pt x="13" y="0"/>
                  </a:cubicBezTo>
                  <a:cubicBezTo>
                    <a:pt x="17" y="0"/>
                    <a:pt x="20" y="2"/>
                    <a:pt x="24" y="4"/>
                  </a:cubicBezTo>
                  <a:cubicBezTo>
                    <a:pt x="24" y="1"/>
                    <a:pt x="24" y="1"/>
                    <a:pt x="24" y="1"/>
                  </a:cubicBezTo>
                  <a:cubicBezTo>
                    <a:pt x="29" y="1"/>
                    <a:pt x="29" y="1"/>
                    <a:pt x="29" y="1"/>
                  </a:cubicBezTo>
                  <a:cubicBezTo>
                    <a:pt x="29" y="34"/>
                    <a:pt x="29" y="34"/>
                    <a:pt x="29" y="34"/>
                  </a:cubicBezTo>
                  <a:cubicBezTo>
                    <a:pt x="29" y="44"/>
                    <a:pt x="28" y="46"/>
                    <a:pt x="25" y="49"/>
                  </a:cubicBezTo>
                  <a:moveTo>
                    <a:pt x="24" y="8"/>
                  </a:moveTo>
                  <a:cubicBezTo>
                    <a:pt x="18" y="6"/>
                    <a:pt x="17" y="5"/>
                    <a:pt x="14" y="5"/>
                  </a:cubicBezTo>
                  <a:cubicBezTo>
                    <a:pt x="9" y="5"/>
                    <a:pt x="6" y="10"/>
                    <a:pt x="6" y="18"/>
                  </a:cubicBezTo>
                  <a:cubicBezTo>
                    <a:pt x="6" y="27"/>
                    <a:pt x="9" y="31"/>
                    <a:pt x="14" y="31"/>
                  </a:cubicBezTo>
                  <a:cubicBezTo>
                    <a:pt x="16" y="31"/>
                    <a:pt x="18" y="31"/>
                    <a:pt x="24" y="29"/>
                  </a:cubicBezTo>
                  <a:lnTo>
                    <a:pt x="24"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8"/>
            <p:cNvSpPr>
              <a:spLocks/>
            </p:cNvSpPr>
            <p:nvPr userDrawn="1"/>
          </p:nvSpPr>
          <p:spPr bwMode="auto">
            <a:xfrm>
              <a:off x="-1397281" y="946852"/>
              <a:ext cx="63500" cy="104775"/>
            </a:xfrm>
            <a:custGeom>
              <a:avLst/>
              <a:gdLst>
                <a:gd name="T0" fmla="*/ 11 w 23"/>
                <a:gd name="T1" fmla="*/ 37 h 37"/>
                <a:gd name="T2" fmla="*/ 0 w 23"/>
                <a:gd name="T3" fmla="*/ 35 h 37"/>
                <a:gd name="T4" fmla="*/ 1 w 23"/>
                <a:gd name="T5" fmla="*/ 31 h 37"/>
                <a:gd name="T6" fmla="*/ 10 w 23"/>
                <a:gd name="T7" fmla="*/ 32 h 37"/>
                <a:gd name="T8" fmla="*/ 18 w 23"/>
                <a:gd name="T9" fmla="*/ 27 h 37"/>
                <a:gd name="T10" fmla="*/ 12 w 23"/>
                <a:gd name="T11" fmla="*/ 21 h 37"/>
                <a:gd name="T12" fmla="*/ 1 w 23"/>
                <a:gd name="T13" fmla="*/ 11 h 37"/>
                <a:gd name="T14" fmla="*/ 12 w 23"/>
                <a:gd name="T15" fmla="*/ 0 h 37"/>
                <a:gd name="T16" fmla="*/ 21 w 23"/>
                <a:gd name="T17" fmla="*/ 2 h 37"/>
                <a:gd name="T18" fmla="*/ 21 w 23"/>
                <a:gd name="T19" fmla="*/ 6 h 37"/>
                <a:gd name="T20" fmla="*/ 13 w 23"/>
                <a:gd name="T21" fmla="*/ 5 h 37"/>
                <a:gd name="T22" fmla="*/ 6 w 23"/>
                <a:gd name="T23" fmla="*/ 10 h 37"/>
                <a:gd name="T24" fmla="*/ 23 w 23"/>
                <a:gd name="T25" fmla="*/ 26 h 37"/>
                <a:gd name="T26" fmla="*/ 11 w 23"/>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37">
                  <a:moveTo>
                    <a:pt x="11" y="37"/>
                  </a:moveTo>
                  <a:cubicBezTo>
                    <a:pt x="7" y="37"/>
                    <a:pt x="5" y="37"/>
                    <a:pt x="0" y="35"/>
                  </a:cubicBezTo>
                  <a:cubicBezTo>
                    <a:pt x="1" y="31"/>
                    <a:pt x="1" y="31"/>
                    <a:pt x="1" y="31"/>
                  </a:cubicBezTo>
                  <a:cubicBezTo>
                    <a:pt x="5" y="32"/>
                    <a:pt x="7" y="32"/>
                    <a:pt x="10" y="32"/>
                  </a:cubicBezTo>
                  <a:cubicBezTo>
                    <a:pt x="15" y="32"/>
                    <a:pt x="18" y="30"/>
                    <a:pt x="18" y="27"/>
                  </a:cubicBezTo>
                  <a:cubicBezTo>
                    <a:pt x="18" y="24"/>
                    <a:pt x="16" y="22"/>
                    <a:pt x="12" y="21"/>
                  </a:cubicBezTo>
                  <a:cubicBezTo>
                    <a:pt x="6" y="19"/>
                    <a:pt x="1" y="17"/>
                    <a:pt x="1" y="11"/>
                  </a:cubicBezTo>
                  <a:cubicBezTo>
                    <a:pt x="1" y="4"/>
                    <a:pt x="5" y="0"/>
                    <a:pt x="12" y="0"/>
                  </a:cubicBezTo>
                  <a:cubicBezTo>
                    <a:pt x="15" y="0"/>
                    <a:pt x="18" y="1"/>
                    <a:pt x="21" y="2"/>
                  </a:cubicBezTo>
                  <a:cubicBezTo>
                    <a:pt x="21" y="6"/>
                    <a:pt x="21" y="6"/>
                    <a:pt x="21" y="6"/>
                  </a:cubicBezTo>
                  <a:cubicBezTo>
                    <a:pt x="17" y="5"/>
                    <a:pt x="15" y="5"/>
                    <a:pt x="13" y="5"/>
                  </a:cubicBezTo>
                  <a:cubicBezTo>
                    <a:pt x="9" y="5"/>
                    <a:pt x="6" y="7"/>
                    <a:pt x="6" y="10"/>
                  </a:cubicBezTo>
                  <a:cubicBezTo>
                    <a:pt x="6" y="18"/>
                    <a:pt x="23" y="14"/>
                    <a:pt x="23" y="26"/>
                  </a:cubicBezTo>
                  <a:cubicBezTo>
                    <a:pt x="23" y="33"/>
                    <a:pt x="19" y="37"/>
                    <a:pt x="11" y="3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9"/>
            <p:cNvSpPr>
              <a:spLocks/>
            </p:cNvSpPr>
            <p:nvPr userDrawn="1"/>
          </p:nvSpPr>
          <p:spPr bwMode="auto">
            <a:xfrm>
              <a:off x="-1324256" y="924627"/>
              <a:ext cx="63500" cy="127000"/>
            </a:xfrm>
            <a:custGeom>
              <a:avLst/>
              <a:gdLst>
                <a:gd name="T0" fmla="*/ 13 w 23"/>
                <a:gd name="T1" fmla="*/ 45 h 45"/>
                <a:gd name="T2" fmla="*/ 7 w 23"/>
                <a:gd name="T3" fmla="*/ 42 h 45"/>
                <a:gd name="T4" fmla="*/ 6 w 23"/>
                <a:gd name="T5" fmla="*/ 35 h 45"/>
                <a:gd name="T6" fmla="*/ 6 w 23"/>
                <a:gd name="T7" fmla="*/ 13 h 45"/>
                <a:gd name="T8" fmla="*/ 0 w 23"/>
                <a:gd name="T9" fmla="*/ 13 h 45"/>
                <a:gd name="T10" fmla="*/ 0 w 23"/>
                <a:gd name="T11" fmla="*/ 10 h 45"/>
                <a:gd name="T12" fmla="*/ 6 w 23"/>
                <a:gd name="T13" fmla="*/ 9 h 45"/>
                <a:gd name="T14" fmla="*/ 6 w 23"/>
                <a:gd name="T15" fmla="*/ 0 h 45"/>
                <a:gd name="T16" fmla="*/ 12 w 23"/>
                <a:gd name="T17" fmla="*/ 0 h 45"/>
                <a:gd name="T18" fmla="*/ 12 w 23"/>
                <a:gd name="T19" fmla="*/ 9 h 45"/>
                <a:gd name="T20" fmla="*/ 21 w 23"/>
                <a:gd name="T21" fmla="*/ 9 h 45"/>
                <a:gd name="T22" fmla="*/ 21 w 23"/>
                <a:gd name="T23" fmla="*/ 13 h 45"/>
                <a:gd name="T24" fmla="*/ 12 w 23"/>
                <a:gd name="T25" fmla="*/ 13 h 45"/>
                <a:gd name="T26" fmla="*/ 12 w 23"/>
                <a:gd name="T27" fmla="*/ 32 h 45"/>
                <a:gd name="T28" fmla="*/ 12 w 23"/>
                <a:gd name="T29" fmla="*/ 39 h 45"/>
                <a:gd name="T30" fmla="*/ 15 w 23"/>
                <a:gd name="T31" fmla="*/ 40 h 45"/>
                <a:gd name="T32" fmla="*/ 22 w 23"/>
                <a:gd name="T33" fmla="*/ 39 h 45"/>
                <a:gd name="T34" fmla="*/ 23 w 23"/>
                <a:gd name="T35" fmla="*/ 43 h 45"/>
                <a:gd name="T36" fmla="*/ 13 w 23"/>
                <a:gd name="T3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45">
                  <a:moveTo>
                    <a:pt x="13" y="45"/>
                  </a:moveTo>
                  <a:cubicBezTo>
                    <a:pt x="10" y="45"/>
                    <a:pt x="8" y="44"/>
                    <a:pt x="7" y="42"/>
                  </a:cubicBezTo>
                  <a:cubicBezTo>
                    <a:pt x="6" y="40"/>
                    <a:pt x="6" y="39"/>
                    <a:pt x="6" y="35"/>
                  </a:cubicBezTo>
                  <a:cubicBezTo>
                    <a:pt x="6" y="13"/>
                    <a:pt x="6" y="13"/>
                    <a:pt x="6" y="13"/>
                  </a:cubicBezTo>
                  <a:cubicBezTo>
                    <a:pt x="0" y="13"/>
                    <a:pt x="0" y="13"/>
                    <a:pt x="0" y="13"/>
                  </a:cubicBezTo>
                  <a:cubicBezTo>
                    <a:pt x="0" y="10"/>
                    <a:pt x="0" y="10"/>
                    <a:pt x="0" y="10"/>
                  </a:cubicBezTo>
                  <a:cubicBezTo>
                    <a:pt x="6" y="9"/>
                    <a:pt x="6" y="9"/>
                    <a:pt x="6" y="9"/>
                  </a:cubicBezTo>
                  <a:cubicBezTo>
                    <a:pt x="6" y="0"/>
                    <a:pt x="6" y="0"/>
                    <a:pt x="6" y="0"/>
                  </a:cubicBezTo>
                  <a:cubicBezTo>
                    <a:pt x="12" y="0"/>
                    <a:pt x="12" y="0"/>
                    <a:pt x="12" y="0"/>
                  </a:cubicBezTo>
                  <a:cubicBezTo>
                    <a:pt x="12" y="9"/>
                    <a:pt x="12" y="9"/>
                    <a:pt x="12" y="9"/>
                  </a:cubicBezTo>
                  <a:cubicBezTo>
                    <a:pt x="21" y="9"/>
                    <a:pt x="21" y="9"/>
                    <a:pt x="21" y="9"/>
                  </a:cubicBezTo>
                  <a:cubicBezTo>
                    <a:pt x="21" y="13"/>
                    <a:pt x="21" y="13"/>
                    <a:pt x="21" y="13"/>
                  </a:cubicBezTo>
                  <a:cubicBezTo>
                    <a:pt x="12" y="13"/>
                    <a:pt x="12" y="13"/>
                    <a:pt x="12" y="13"/>
                  </a:cubicBezTo>
                  <a:cubicBezTo>
                    <a:pt x="12" y="32"/>
                    <a:pt x="12" y="32"/>
                    <a:pt x="12" y="32"/>
                  </a:cubicBezTo>
                  <a:cubicBezTo>
                    <a:pt x="12" y="38"/>
                    <a:pt x="12" y="38"/>
                    <a:pt x="12" y="39"/>
                  </a:cubicBezTo>
                  <a:cubicBezTo>
                    <a:pt x="13" y="40"/>
                    <a:pt x="14" y="40"/>
                    <a:pt x="15" y="40"/>
                  </a:cubicBezTo>
                  <a:cubicBezTo>
                    <a:pt x="17" y="40"/>
                    <a:pt x="19" y="40"/>
                    <a:pt x="22" y="39"/>
                  </a:cubicBezTo>
                  <a:cubicBezTo>
                    <a:pt x="23" y="43"/>
                    <a:pt x="23" y="43"/>
                    <a:pt x="23" y="43"/>
                  </a:cubicBezTo>
                  <a:cubicBezTo>
                    <a:pt x="19" y="44"/>
                    <a:pt x="16" y="45"/>
                    <a:pt x="13" y="4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0"/>
            <p:cNvSpPr>
              <a:spLocks noEditPoints="1"/>
            </p:cNvSpPr>
            <p:nvPr userDrawn="1"/>
          </p:nvSpPr>
          <p:spPr bwMode="auto">
            <a:xfrm>
              <a:off x="-1249643" y="946852"/>
              <a:ext cx="71437" cy="104775"/>
            </a:xfrm>
            <a:custGeom>
              <a:avLst/>
              <a:gdLst>
                <a:gd name="T0" fmla="*/ 20 w 25"/>
                <a:gd name="T1" fmla="*/ 36 h 37"/>
                <a:gd name="T2" fmla="*/ 20 w 25"/>
                <a:gd name="T3" fmla="*/ 33 h 37"/>
                <a:gd name="T4" fmla="*/ 9 w 25"/>
                <a:gd name="T5" fmla="*/ 37 h 37"/>
                <a:gd name="T6" fmla="*/ 0 w 25"/>
                <a:gd name="T7" fmla="*/ 26 h 37"/>
                <a:gd name="T8" fmla="*/ 7 w 25"/>
                <a:gd name="T9" fmla="*/ 16 h 37"/>
                <a:gd name="T10" fmla="*/ 20 w 25"/>
                <a:gd name="T11" fmla="*/ 15 h 37"/>
                <a:gd name="T12" fmla="*/ 20 w 25"/>
                <a:gd name="T13" fmla="*/ 14 h 37"/>
                <a:gd name="T14" fmla="*/ 13 w 25"/>
                <a:gd name="T15" fmla="*/ 5 h 37"/>
                <a:gd name="T16" fmla="*/ 3 w 25"/>
                <a:gd name="T17" fmla="*/ 7 h 37"/>
                <a:gd name="T18" fmla="*/ 2 w 25"/>
                <a:gd name="T19" fmla="*/ 3 h 37"/>
                <a:gd name="T20" fmla="*/ 16 w 25"/>
                <a:gd name="T21" fmla="*/ 0 h 37"/>
                <a:gd name="T22" fmla="*/ 23 w 25"/>
                <a:gd name="T23" fmla="*/ 3 h 37"/>
                <a:gd name="T24" fmla="*/ 25 w 25"/>
                <a:gd name="T25" fmla="*/ 14 h 37"/>
                <a:gd name="T26" fmla="*/ 25 w 25"/>
                <a:gd name="T27" fmla="*/ 36 h 37"/>
                <a:gd name="T28" fmla="*/ 20 w 25"/>
                <a:gd name="T29" fmla="*/ 36 h 37"/>
                <a:gd name="T30" fmla="*/ 20 w 25"/>
                <a:gd name="T31" fmla="*/ 19 h 37"/>
                <a:gd name="T32" fmla="*/ 6 w 25"/>
                <a:gd name="T33" fmla="*/ 26 h 37"/>
                <a:gd name="T34" fmla="*/ 11 w 25"/>
                <a:gd name="T35" fmla="*/ 32 h 37"/>
                <a:gd name="T36" fmla="*/ 20 w 25"/>
                <a:gd name="T37" fmla="*/ 30 h 37"/>
                <a:gd name="T38" fmla="*/ 20 w 25"/>
                <a:gd name="T3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7">
                  <a:moveTo>
                    <a:pt x="20" y="36"/>
                  </a:moveTo>
                  <a:cubicBezTo>
                    <a:pt x="20" y="33"/>
                    <a:pt x="20" y="33"/>
                    <a:pt x="20" y="33"/>
                  </a:cubicBezTo>
                  <a:cubicBezTo>
                    <a:pt x="15" y="36"/>
                    <a:pt x="12" y="37"/>
                    <a:pt x="9" y="37"/>
                  </a:cubicBezTo>
                  <a:cubicBezTo>
                    <a:pt x="5" y="37"/>
                    <a:pt x="0" y="34"/>
                    <a:pt x="0" y="26"/>
                  </a:cubicBezTo>
                  <a:cubicBezTo>
                    <a:pt x="0" y="20"/>
                    <a:pt x="3" y="17"/>
                    <a:pt x="7" y="16"/>
                  </a:cubicBezTo>
                  <a:cubicBezTo>
                    <a:pt x="9" y="15"/>
                    <a:pt x="13" y="15"/>
                    <a:pt x="20" y="15"/>
                  </a:cubicBezTo>
                  <a:cubicBezTo>
                    <a:pt x="20" y="14"/>
                    <a:pt x="20" y="14"/>
                    <a:pt x="20" y="14"/>
                  </a:cubicBezTo>
                  <a:cubicBezTo>
                    <a:pt x="20" y="8"/>
                    <a:pt x="20" y="5"/>
                    <a:pt x="13" y="5"/>
                  </a:cubicBezTo>
                  <a:cubicBezTo>
                    <a:pt x="11" y="5"/>
                    <a:pt x="7" y="6"/>
                    <a:pt x="3" y="7"/>
                  </a:cubicBezTo>
                  <a:cubicBezTo>
                    <a:pt x="2" y="3"/>
                    <a:pt x="2" y="3"/>
                    <a:pt x="2" y="3"/>
                  </a:cubicBezTo>
                  <a:cubicBezTo>
                    <a:pt x="8" y="1"/>
                    <a:pt x="12" y="0"/>
                    <a:pt x="16" y="0"/>
                  </a:cubicBezTo>
                  <a:cubicBezTo>
                    <a:pt x="19" y="0"/>
                    <a:pt x="22" y="1"/>
                    <a:pt x="23" y="3"/>
                  </a:cubicBezTo>
                  <a:cubicBezTo>
                    <a:pt x="25" y="5"/>
                    <a:pt x="25" y="7"/>
                    <a:pt x="25" y="14"/>
                  </a:cubicBezTo>
                  <a:cubicBezTo>
                    <a:pt x="25" y="36"/>
                    <a:pt x="25" y="36"/>
                    <a:pt x="25" y="36"/>
                  </a:cubicBezTo>
                  <a:lnTo>
                    <a:pt x="20" y="36"/>
                  </a:lnTo>
                  <a:close/>
                  <a:moveTo>
                    <a:pt x="20" y="19"/>
                  </a:moveTo>
                  <a:cubicBezTo>
                    <a:pt x="8" y="20"/>
                    <a:pt x="6" y="21"/>
                    <a:pt x="6" y="26"/>
                  </a:cubicBezTo>
                  <a:cubicBezTo>
                    <a:pt x="6" y="30"/>
                    <a:pt x="8" y="32"/>
                    <a:pt x="11" y="32"/>
                  </a:cubicBezTo>
                  <a:cubicBezTo>
                    <a:pt x="14" y="32"/>
                    <a:pt x="20" y="30"/>
                    <a:pt x="20" y="30"/>
                  </a:cubicBezTo>
                  <a:lnTo>
                    <a:pt x="20"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1"/>
            <p:cNvSpPr>
              <a:spLocks/>
            </p:cNvSpPr>
            <p:nvPr userDrawn="1"/>
          </p:nvSpPr>
          <p:spPr bwMode="auto">
            <a:xfrm>
              <a:off x="-1148043" y="946852"/>
              <a:ext cx="76200" cy="101600"/>
            </a:xfrm>
            <a:custGeom>
              <a:avLst/>
              <a:gdLst>
                <a:gd name="T0" fmla="*/ 21 w 27"/>
                <a:gd name="T1" fmla="*/ 36 h 36"/>
                <a:gd name="T2" fmla="*/ 21 w 27"/>
                <a:gd name="T3" fmla="*/ 15 h 36"/>
                <a:gd name="T4" fmla="*/ 15 w 27"/>
                <a:gd name="T5" fmla="*/ 5 h 36"/>
                <a:gd name="T6" fmla="*/ 5 w 27"/>
                <a:gd name="T7" fmla="*/ 7 h 36"/>
                <a:gd name="T8" fmla="*/ 5 w 27"/>
                <a:gd name="T9" fmla="*/ 36 h 36"/>
                <a:gd name="T10" fmla="*/ 0 w 27"/>
                <a:gd name="T11" fmla="*/ 36 h 36"/>
                <a:gd name="T12" fmla="*/ 0 w 27"/>
                <a:gd name="T13" fmla="*/ 1 h 36"/>
                <a:gd name="T14" fmla="*/ 5 w 27"/>
                <a:gd name="T15" fmla="*/ 1 h 36"/>
                <a:gd name="T16" fmla="*/ 5 w 27"/>
                <a:gd name="T17" fmla="*/ 4 h 36"/>
                <a:gd name="T18" fmla="*/ 17 w 27"/>
                <a:gd name="T19" fmla="*/ 0 h 36"/>
                <a:gd name="T20" fmla="*/ 25 w 27"/>
                <a:gd name="T21" fmla="*/ 4 h 36"/>
                <a:gd name="T22" fmla="*/ 27 w 27"/>
                <a:gd name="T23" fmla="*/ 13 h 36"/>
                <a:gd name="T24" fmla="*/ 27 w 27"/>
                <a:gd name="T25" fmla="*/ 36 h 36"/>
                <a:gd name="T26" fmla="*/ 21 w 27"/>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6">
                  <a:moveTo>
                    <a:pt x="21" y="36"/>
                  </a:moveTo>
                  <a:cubicBezTo>
                    <a:pt x="21" y="15"/>
                    <a:pt x="21" y="15"/>
                    <a:pt x="21" y="15"/>
                  </a:cubicBezTo>
                  <a:cubicBezTo>
                    <a:pt x="21" y="10"/>
                    <a:pt x="22" y="5"/>
                    <a:pt x="15" y="5"/>
                  </a:cubicBezTo>
                  <a:cubicBezTo>
                    <a:pt x="12" y="5"/>
                    <a:pt x="9" y="6"/>
                    <a:pt x="5" y="7"/>
                  </a:cubicBezTo>
                  <a:cubicBezTo>
                    <a:pt x="5" y="36"/>
                    <a:pt x="5" y="36"/>
                    <a:pt x="5" y="36"/>
                  </a:cubicBezTo>
                  <a:cubicBezTo>
                    <a:pt x="0" y="36"/>
                    <a:pt x="0" y="36"/>
                    <a:pt x="0" y="36"/>
                  </a:cubicBezTo>
                  <a:cubicBezTo>
                    <a:pt x="0" y="1"/>
                    <a:pt x="0" y="1"/>
                    <a:pt x="0" y="1"/>
                  </a:cubicBezTo>
                  <a:cubicBezTo>
                    <a:pt x="5" y="1"/>
                    <a:pt x="5" y="1"/>
                    <a:pt x="5" y="1"/>
                  </a:cubicBezTo>
                  <a:cubicBezTo>
                    <a:pt x="5" y="4"/>
                    <a:pt x="5" y="4"/>
                    <a:pt x="5" y="4"/>
                  </a:cubicBezTo>
                  <a:cubicBezTo>
                    <a:pt x="10" y="2"/>
                    <a:pt x="14" y="0"/>
                    <a:pt x="17" y="0"/>
                  </a:cubicBezTo>
                  <a:cubicBezTo>
                    <a:pt x="21" y="0"/>
                    <a:pt x="23" y="2"/>
                    <a:pt x="25" y="4"/>
                  </a:cubicBezTo>
                  <a:cubicBezTo>
                    <a:pt x="27" y="6"/>
                    <a:pt x="27" y="7"/>
                    <a:pt x="27" y="13"/>
                  </a:cubicBezTo>
                  <a:cubicBezTo>
                    <a:pt x="27" y="36"/>
                    <a:pt x="27" y="36"/>
                    <a:pt x="27" y="36"/>
                  </a:cubicBezTo>
                  <a:lnTo>
                    <a:pt x="21"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32"/>
            <p:cNvSpPr>
              <a:spLocks noEditPoints="1"/>
            </p:cNvSpPr>
            <p:nvPr userDrawn="1"/>
          </p:nvSpPr>
          <p:spPr bwMode="auto">
            <a:xfrm>
              <a:off x="-1049618" y="899227"/>
              <a:ext cx="80962" cy="152400"/>
            </a:xfrm>
            <a:custGeom>
              <a:avLst/>
              <a:gdLst>
                <a:gd name="T0" fmla="*/ 24 w 29"/>
                <a:gd name="T1" fmla="*/ 53 h 54"/>
                <a:gd name="T2" fmla="*/ 24 w 29"/>
                <a:gd name="T3" fmla="*/ 50 h 54"/>
                <a:gd name="T4" fmla="*/ 12 w 29"/>
                <a:gd name="T5" fmla="*/ 54 h 54"/>
                <a:gd name="T6" fmla="*/ 0 w 29"/>
                <a:gd name="T7" fmla="*/ 36 h 54"/>
                <a:gd name="T8" fmla="*/ 13 w 29"/>
                <a:gd name="T9" fmla="*/ 17 h 54"/>
                <a:gd name="T10" fmla="*/ 24 w 29"/>
                <a:gd name="T11" fmla="*/ 21 h 54"/>
                <a:gd name="T12" fmla="*/ 24 w 29"/>
                <a:gd name="T13" fmla="*/ 0 h 54"/>
                <a:gd name="T14" fmla="*/ 29 w 29"/>
                <a:gd name="T15" fmla="*/ 0 h 54"/>
                <a:gd name="T16" fmla="*/ 29 w 29"/>
                <a:gd name="T17" fmla="*/ 53 h 54"/>
                <a:gd name="T18" fmla="*/ 24 w 29"/>
                <a:gd name="T19" fmla="*/ 53 h 54"/>
                <a:gd name="T20" fmla="*/ 24 w 29"/>
                <a:gd name="T21" fmla="*/ 25 h 54"/>
                <a:gd name="T22" fmla="*/ 14 w 29"/>
                <a:gd name="T23" fmla="*/ 22 h 54"/>
                <a:gd name="T24" fmla="*/ 6 w 29"/>
                <a:gd name="T25" fmla="*/ 35 h 54"/>
                <a:gd name="T26" fmla="*/ 14 w 29"/>
                <a:gd name="T27" fmla="*/ 49 h 54"/>
                <a:gd name="T28" fmla="*/ 24 w 29"/>
                <a:gd name="T29" fmla="*/ 47 h 54"/>
                <a:gd name="T30" fmla="*/ 24 w 29"/>
                <a:gd name="T31" fmla="*/ 2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54">
                  <a:moveTo>
                    <a:pt x="24" y="53"/>
                  </a:moveTo>
                  <a:cubicBezTo>
                    <a:pt x="24" y="50"/>
                    <a:pt x="24" y="50"/>
                    <a:pt x="24" y="50"/>
                  </a:cubicBezTo>
                  <a:cubicBezTo>
                    <a:pt x="19" y="53"/>
                    <a:pt x="15" y="54"/>
                    <a:pt x="12" y="54"/>
                  </a:cubicBezTo>
                  <a:cubicBezTo>
                    <a:pt x="4" y="54"/>
                    <a:pt x="0" y="47"/>
                    <a:pt x="0" y="36"/>
                  </a:cubicBezTo>
                  <a:cubicBezTo>
                    <a:pt x="0" y="25"/>
                    <a:pt x="5" y="17"/>
                    <a:pt x="13" y="17"/>
                  </a:cubicBezTo>
                  <a:cubicBezTo>
                    <a:pt x="17" y="17"/>
                    <a:pt x="20" y="19"/>
                    <a:pt x="24" y="21"/>
                  </a:cubicBezTo>
                  <a:cubicBezTo>
                    <a:pt x="24" y="0"/>
                    <a:pt x="24" y="0"/>
                    <a:pt x="24" y="0"/>
                  </a:cubicBezTo>
                  <a:cubicBezTo>
                    <a:pt x="29" y="0"/>
                    <a:pt x="29" y="0"/>
                    <a:pt x="29" y="0"/>
                  </a:cubicBezTo>
                  <a:cubicBezTo>
                    <a:pt x="29" y="53"/>
                    <a:pt x="29" y="53"/>
                    <a:pt x="29" y="53"/>
                  </a:cubicBezTo>
                  <a:lnTo>
                    <a:pt x="24" y="53"/>
                  </a:lnTo>
                  <a:close/>
                  <a:moveTo>
                    <a:pt x="24" y="25"/>
                  </a:moveTo>
                  <a:cubicBezTo>
                    <a:pt x="18" y="23"/>
                    <a:pt x="17" y="22"/>
                    <a:pt x="14" y="22"/>
                  </a:cubicBezTo>
                  <a:cubicBezTo>
                    <a:pt x="9" y="22"/>
                    <a:pt x="6" y="27"/>
                    <a:pt x="6" y="35"/>
                  </a:cubicBezTo>
                  <a:cubicBezTo>
                    <a:pt x="6" y="45"/>
                    <a:pt x="8" y="49"/>
                    <a:pt x="14" y="49"/>
                  </a:cubicBezTo>
                  <a:cubicBezTo>
                    <a:pt x="16" y="49"/>
                    <a:pt x="19" y="49"/>
                    <a:pt x="24" y="47"/>
                  </a:cubicBezTo>
                  <a:lnTo>
                    <a:pt x="24"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3"/>
            <p:cNvSpPr>
              <a:spLocks noEditPoints="1"/>
            </p:cNvSpPr>
            <p:nvPr userDrawn="1"/>
          </p:nvSpPr>
          <p:spPr bwMode="auto">
            <a:xfrm>
              <a:off x="-943256" y="946852"/>
              <a:ext cx="69850" cy="104775"/>
            </a:xfrm>
            <a:custGeom>
              <a:avLst/>
              <a:gdLst>
                <a:gd name="T0" fmla="*/ 19 w 25"/>
                <a:gd name="T1" fmla="*/ 36 h 37"/>
                <a:gd name="T2" fmla="*/ 19 w 25"/>
                <a:gd name="T3" fmla="*/ 33 h 37"/>
                <a:gd name="T4" fmla="*/ 9 w 25"/>
                <a:gd name="T5" fmla="*/ 37 h 37"/>
                <a:gd name="T6" fmla="*/ 0 w 25"/>
                <a:gd name="T7" fmla="*/ 26 h 37"/>
                <a:gd name="T8" fmla="*/ 6 w 25"/>
                <a:gd name="T9" fmla="*/ 16 h 37"/>
                <a:gd name="T10" fmla="*/ 19 w 25"/>
                <a:gd name="T11" fmla="*/ 15 h 37"/>
                <a:gd name="T12" fmla="*/ 19 w 25"/>
                <a:gd name="T13" fmla="*/ 14 h 37"/>
                <a:gd name="T14" fmla="*/ 13 w 25"/>
                <a:gd name="T15" fmla="*/ 5 h 37"/>
                <a:gd name="T16" fmla="*/ 2 w 25"/>
                <a:gd name="T17" fmla="*/ 7 h 37"/>
                <a:gd name="T18" fmla="*/ 2 w 25"/>
                <a:gd name="T19" fmla="*/ 3 h 37"/>
                <a:gd name="T20" fmla="*/ 15 w 25"/>
                <a:gd name="T21" fmla="*/ 0 h 37"/>
                <a:gd name="T22" fmla="*/ 23 w 25"/>
                <a:gd name="T23" fmla="*/ 3 h 37"/>
                <a:gd name="T24" fmla="*/ 25 w 25"/>
                <a:gd name="T25" fmla="*/ 14 h 37"/>
                <a:gd name="T26" fmla="*/ 25 w 25"/>
                <a:gd name="T27" fmla="*/ 36 h 37"/>
                <a:gd name="T28" fmla="*/ 19 w 25"/>
                <a:gd name="T29" fmla="*/ 36 h 37"/>
                <a:gd name="T30" fmla="*/ 19 w 25"/>
                <a:gd name="T31" fmla="*/ 19 h 37"/>
                <a:gd name="T32" fmla="*/ 5 w 25"/>
                <a:gd name="T33" fmla="*/ 26 h 37"/>
                <a:gd name="T34" fmla="*/ 10 w 25"/>
                <a:gd name="T35" fmla="*/ 32 h 37"/>
                <a:gd name="T36" fmla="*/ 19 w 25"/>
                <a:gd name="T37" fmla="*/ 30 h 37"/>
                <a:gd name="T38" fmla="*/ 19 w 25"/>
                <a:gd name="T39"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7">
                  <a:moveTo>
                    <a:pt x="19" y="36"/>
                  </a:moveTo>
                  <a:cubicBezTo>
                    <a:pt x="19" y="33"/>
                    <a:pt x="19" y="33"/>
                    <a:pt x="19" y="33"/>
                  </a:cubicBezTo>
                  <a:cubicBezTo>
                    <a:pt x="15" y="36"/>
                    <a:pt x="12" y="37"/>
                    <a:pt x="9" y="37"/>
                  </a:cubicBezTo>
                  <a:cubicBezTo>
                    <a:pt x="4" y="37"/>
                    <a:pt x="0" y="34"/>
                    <a:pt x="0" y="26"/>
                  </a:cubicBezTo>
                  <a:cubicBezTo>
                    <a:pt x="0" y="20"/>
                    <a:pt x="2" y="17"/>
                    <a:pt x="6" y="16"/>
                  </a:cubicBezTo>
                  <a:cubicBezTo>
                    <a:pt x="9" y="15"/>
                    <a:pt x="12" y="15"/>
                    <a:pt x="19" y="15"/>
                  </a:cubicBezTo>
                  <a:cubicBezTo>
                    <a:pt x="19" y="14"/>
                    <a:pt x="19" y="14"/>
                    <a:pt x="19" y="14"/>
                  </a:cubicBezTo>
                  <a:cubicBezTo>
                    <a:pt x="19" y="8"/>
                    <a:pt x="20" y="5"/>
                    <a:pt x="13" y="5"/>
                  </a:cubicBezTo>
                  <a:cubicBezTo>
                    <a:pt x="10" y="5"/>
                    <a:pt x="7" y="6"/>
                    <a:pt x="2" y="7"/>
                  </a:cubicBezTo>
                  <a:cubicBezTo>
                    <a:pt x="2" y="3"/>
                    <a:pt x="2" y="3"/>
                    <a:pt x="2" y="3"/>
                  </a:cubicBezTo>
                  <a:cubicBezTo>
                    <a:pt x="7" y="1"/>
                    <a:pt x="11" y="0"/>
                    <a:pt x="15" y="0"/>
                  </a:cubicBezTo>
                  <a:cubicBezTo>
                    <a:pt x="19" y="0"/>
                    <a:pt x="21" y="1"/>
                    <a:pt x="23" y="3"/>
                  </a:cubicBezTo>
                  <a:cubicBezTo>
                    <a:pt x="24" y="5"/>
                    <a:pt x="25" y="7"/>
                    <a:pt x="25" y="14"/>
                  </a:cubicBezTo>
                  <a:cubicBezTo>
                    <a:pt x="25" y="36"/>
                    <a:pt x="25" y="36"/>
                    <a:pt x="25" y="36"/>
                  </a:cubicBezTo>
                  <a:lnTo>
                    <a:pt x="19" y="36"/>
                  </a:lnTo>
                  <a:close/>
                  <a:moveTo>
                    <a:pt x="19" y="19"/>
                  </a:moveTo>
                  <a:cubicBezTo>
                    <a:pt x="8" y="20"/>
                    <a:pt x="5" y="21"/>
                    <a:pt x="5" y="26"/>
                  </a:cubicBezTo>
                  <a:cubicBezTo>
                    <a:pt x="5" y="30"/>
                    <a:pt x="7" y="32"/>
                    <a:pt x="10" y="32"/>
                  </a:cubicBezTo>
                  <a:cubicBezTo>
                    <a:pt x="13" y="32"/>
                    <a:pt x="19" y="30"/>
                    <a:pt x="19" y="30"/>
                  </a:cubicBezTo>
                  <a:lnTo>
                    <a:pt x="19" y="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4"/>
            <p:cNvSpPr>
              <a:spLocks/>
            </p:cNvSpPr>
            <p:nvPr userDrawn="1"/>
          </p:nvSpPr>
          <p:spPr bwMode="auto">
            <a:xfrm>
              <a:off x="-844831" y="950027"/>
              <a:ext cx="47625" cy="98425"/>
            </a:xfrm>
            <a:custGeom>
              <a:avLst/>
              <a:gdLst>
                <a:gd name="T0" fmla="*/ 15 w 17"/>
                <a:gd name="T1" fmla="*/ 5 h 35"/>
                <a:gd name="T2" fmla="*/ 6 w 17"/>
                <a:gd name="T3" fmla="*/ 7 h 35"/>
                <a:gd name="T4" fmla="*/ 6 w 17"/>
                <a:gd name="T5" fmla="*/ 35 h 35"/>
                <a:gd name="T6" fmla="*/ 0 w 17"/>
                <a:gd name="T7" fmla="*/ 35 h 35"/>
                <a:gd name="T8" fmla="*/ 0 w 17"/>
                <a:gd name="T9" fmla="*/ 0 h 35"/>
                <a:gd name="T10" fmla="*/ 5 w 17"/>
                <a:gd name="T11" fmla="*/ 0 h 35"/>
                <a:gd name="T12" fmla="*/ 5 w 17"/>
                <a:gd name="T13" fmla="*/ 3 h 35"/>
                <a:gd name="T14" fmla="*/ 15 w 17"/>
                <a:gd name="T15" fmla="*/ 0 h 35"/>
                <a:gd name="T16" fmla="*/ 17 w 17"/>
                <a:gd name="T17" fmla="*/ 0 h 35"/>
                <a:gd name="T18" fmla="*/ 17 w 17"/>
                <a:gd name="T19" fmla="*/ 5 h 35"/>
                <a:gd name="T20" fmla="*/ 15 w 17"/>
                <a:gd name="T21"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5">
                  <a:moveTo>
                    <a:pt x="15" y="5"/>
                  </a:moveTo>
                  <a:cubicBezTo>
                    <a:pt x="12" y="5"/>
                    <a:pt x="9" y="5"/>
                    <a:pt x="6" y="7"/>
                  </a:cubicBezTo>
                  <a:cubicBezTo>
                    <a:pt x="6" y="35"/>
                    <a:pt x="6" y="35"/>
                    <a:pt x="6" y="35"/>
                  </a:cubicBezTo>
                  <a:cubicBezTo>
                    <a:pt x="0" y="35"/>
                    <a:pt x="0" y="35"/>
                    <a:pt x="0" y="35"/>
                  </a:cubicBezTo>
                  <a:cubicBezTo>
                    <a:pt x="0" y="0"/>
                    <a:pt x="0" y="0"/>
                    <a:pt x="0" y="0"/>
                  </a:cubicBezTo>
                  <a:cubicBezTo>
                    <a:pt x="5" y="0"/>
                    <a:pt x="5" y="0"/>
                    <a:pt x="5" y="0"/>
                  </a:cubicBezTo>
                  <a:cubicBezTo>
                    <a:pt x="5" y="3"/>
                    <a:pt x="5" y="3"/>
                    <a:pt x="5" y="3"/>
                  </a:cubicBezTo>
                  <a:cubicBezTo>
                    <a:pt x="9" y="1"/>
                    <a:pt x="12" y="0"/>
                    <a:pt x="15" y="0"/>
                  </a:cubicBezTo>
                  <a:cubicBezTo>
                    <a:pt x="15" y="0"/>
                    <a:pt x="16" y="0"/>
                    <a:pt x="17" y="0"/>
                  </a:cubicBezTo>
                  <a:cubicBezTo>
                    <a:pt x="17" y="5"/>
                    <a:pt x="17" y="5"/>
                    <a:pt x="17" y="5"/>
                  </a:cubicBezTo>
                  <a:cubicBezTo>
                    <a:pt x="16" y="5"/>
                    <a:pt x="15" y="5"/>
                    <a:pt x="1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5"/>
            <p:cNvSpPr>
              <a:spLocks noEditPoints="1"/>
            </p:cNvSpPr>
            <p:nvPr userDrawn="1"/>
          </p:nvSpPr>
          <p:spPr bwMode="auto">
            <a:xfrm>
              <a:off x="-790856" y="899227"/>
              <a:ext cx="80962" cy="152400"/>
            </a:xfrm>
            <a:custGeom>
              <a:avLst/>
              <a:gdLst>
                <a:gd name="T0" fmla="*/ 24 w 29"/>
                <a:gd name="T1" fmla="*/ 53 h 54"/>
                <a:gd name="T2" fmla="*/ 24 w 29"/>
                <a:gd name="T3" fmla="*/ 50 h 54"/>
                <a:gd name="T4" fmla="*/ 12 w 29"/>
                <a:gd name="T5" fmla="*/ 54 h 54"/>
                <a:gd name="T6" fmla="*/ 0 w 29"/>
                <a:gd name="T7" fmla="*/ 36 h 54"/>
                <a:gd name="T8" fmla="*/ 13 w 29"/>
                <a:gd name="T9" fmla="*/ 17 h 54"/>
                <a:gd name="T10" fmla="*/ 24 w 29"/>
                <a:gd name="T11" fmla="*/ 21 h 54"/>
                <a:gd name="T12" fmla="*/ 24 w 29"/>
                <a:gd name="T13" fmla="*/ 0 h 54"/>
                <a:gd name="T14" fmla="*/ 29 w 29"/>
                <a:gd name="T15" fmla="*/ 0 h 54"/>
                <a:gd name="T16" fmla="*/ 29 w 29"/>
                <a:gd name="T17" fmla="*/ 53 h 54"/>
                <a:gd name="T18" fmla="*/ 24 w 29"/>
                <a:gd name="T19" fmla="*/ 53 h 54"/>
                <a:gd name="T20" fmla="*/ 24 w 29"/>
                <a:gd name="T21" fmla="*/ 25 h 54"/>
                <a:gd name="T22" fmla="*/ 14 w 29"/>
                <a:gd name="T23" fmla="*/ 22 h 54"/>
                <a:gd name="T24" fmla="*/ 6 w 29"/>
                <a:gd name="T25" fmla="*/ 35 h 54"/>
                <a:gd name="T26" fmla="*/ 14 w 29"/>
                <a:gd name="T27" fmla="*/ 49 h 54"/>
                <a:gd name="T28" fmla="*/ 24 w 29"/>
                <a:gd name="T29" fmla="*/ 47 h 54"/>
                <a:gd name="T30" fmla="*/ 24 w 29"/>
                <a:gd name="T31" fmla="*/ 2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54">
                  <a:moveTo>
                    <a:pt x="24" y="53"/>
                  </a:moveTo>
                  <a:cubicBezTo>
                    <a:pt x="24" y="50"/>
                    <a:pt x="24" y="50"/>
                    <a:pt x="24" y="50"/>
                  </a:cubicBezTo>
                  <a:cubicBezTo>
                    <a:pt x="20" y="53"/>
                    <a:pt x="15" y="54"/>
                    <a:pt x="12" y="54"/>
                  </a:cubicBezTo>
                  <a:cubicBezTo>
                    <a:pt x="5" y="54"/>
                    <a:pt x="0" y="47"/>
                    <a:pt x="0" y="36"/>
                  </a:cubicBezTo>
                  <a:cubicBezTo>
                    <a:pt x="0" y="25"/>
                    <a:pt x="5" y="17"/>
                    <a:pt x="13" y="17"/>
                  </a:cubicBezTo>
                  <a:cubicBezTo>
                    <a:pt x="17" y="17"/>
                    <a:pt x="21" y="19"/>
                    <a:pt x="24" y="21"/>
                  </a:cubicBezTo>
                  <a:cubicBezTo>
                    <a:pt x="24" y="0"/>
                    <a:pt x="24" y="0"/>
                    <a:pt x="24" y="0"/>
                  </a:cubicBezTo>
                  <a:cubicBezTo>
                    <a:pt x="29" y="0"/>
                    <a:pt x="29" y="0"/>
                    <a:pt x="29" y="0"/>
                  </a:cubicBezTo>
                  <a:cubicBezTo>
                    <a:pt x="29" y="53"/>
                    <a:pt x="29" y="53"/>
                    <a:pt x="29" y="53"/>
                  </a:cubicBezTo>
                  <a:lnTo>
                    <a:pt x="24" y="53"/>
                  </a:lnTo>
                  <a:close/>
                  <a:moveTo>
                    <a:pt x="24" y="25"/>
                  </a:moveTo>
                  <a:cubicBezTo>
                    <a:pt x="19" y="23"/>
                    <a:pt x="17" y="22"/>
                    <a:pt x="14" y="22"/>
                  </a:cubicBezTo>
                  <a:cubicBezTo>
                    <a:pt x="9" y="22"/>
                    <a:pt x="6" y="27"/>
                    <a:pt x="6" y="35"/>
                  </a:cubicBezTo>
                  <a:cubicBezTo>
                    <a:pt x="6" y="45"/>
                    <a:pt x="9" y="49"/>
                    <a:pt x="14" y="49"/>
                  </a:cubicBezTo>
                  <a:cubicBezTo>
                    <a:pt x="16" y="49"/>
                    <a:pt x="19" y="49"/>
                    <a:pt x="24" y="47"/>
                  </a:cubicBezTo>
                  <a:lnTo>
                    <a:pt x="24"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6"/>
            <p:cNvSpPr>
              <a:spLocks/>
            </p:cNvSpPr>
            <p:nvPr userDrawn="1"/>
          </p:nvSpPr>
          <p:spPr bwMode="auto">
            <a:xfrm>
              <a:off x="-687668" y="946852"/>
              <a:ext cx="65087" cy="104775"/>
            </a:xfrm>
            <a:custGeom>
              <a:avLst/>
              <a:gdLst>
                <a:gd name="T0" fmla="*/ 11 w 23"/>
                <a:gd name="T1" fmla="*/ 37 h 37"/>
                <a:gd name="T2" fmla="*/ 0 w 23"/>
                <a:gd name="T3" fmla="*/ 35 h 37"/>
                <a:gd name="T4" fmla="*/ 1 w 23"/>
                <a:gd name="T5" fmla="*/ 31 h 37"/>
                <a:gd name="T6" fmla="*/ 9 w 23"/>
                <a:gd name="T7" fmla="*/ 32 h 37"/>
                <a:gd name="T8" fmla="*/ 17 w 23"/>
                <a:gd name="T9" fmla="*/ 27 h 37"/>
                <a:gd name="T10" fmla="*/ 11 w 23"/>
                <a:gd name="T11" fmla="*/ 21 h 37"/>
                <a:gd name="T12" fmla="*/ 0 w 23"/>
                <a:gd name="T13" fmla="*/ 11 h 37"/>
                <a:gd name="T14" fmla="*/ 12 w 23"/>
                <a:gd name="T15" fmla="*/ 0 h 37"/>
                <a:gd name="T16" fmla="*/ 21 w 23"/>
                <a:gd name="T17" fmla="*/ 2 h 37"/>
                <a:gd name="T18" fmla="*/ 20 w 23"/>
                <a:gd name="T19" fmla="*/ 6 h 37"/>
                <a:gd name="T20" fmla="*/ 12 w 23"/>
                <a:gd name="T21" fmla="*/ 5 h 37"/>
                <a:gd name="T22" fmla="*/ 6 w 23"/>
                <a:gd name="T23" fmla="*/ 10 h 37"/>
                <a:gd name="T24" fmla="*/ 23 w 23"/>
                <a:gd name="T25" fmla="*/ 26 h 37"/>
                <a:gd name="T26" fmla="*/ 11 w 23"/>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37">
                  <a:moveTo>
                    <a:pt x="11" y="37"/>
                  </a:moveTo>
                  <a:cubicBezTo>
                    <a:pt x="7" y="37"/>
                    <a:pt x="4" y="37"/>
                    <a:pt x="0" y="35"/>
                  </a:cubicBezTo>
                  <a:cubicBezTo>
                    <a:pt x="1" y="31"/>
                    <a:pt x="1" y="31"/>
                    <a:pt x="1" y="31"/>
                  </a:cubicBezTo>
                  <a:cubicBezTo>
                    <a:pt x="5" y="32"/>
                    <a:pt x="7" y="32"/>
                    <a:pt x="9" y="32"/>
                  </a:cubicBezTo>
                  <a:cubicBezTo>
                    <a:pt x="14" y="32"/>
                    <a:pt x="17" y="30"/>
                    <a:pt x="17" y="27"/>
                  </a:cubicBezTo>
                  <a:cubicBezTo>
                    <a:pt x="17" y="24"/>
                    <a:pt x="16" y="22"/>
                    <a:pt x="11" y="21"/>
                  </a:cubicBezTo>
                  <a:cubicBezTo>
                    <a:pt x="5" y="19"/>
                    <a:pt x="0" y="17"/>
                    <a:pt x="0" y="11"/>
                  </a:cubicBezTo>
                  <a:cubicBezTo>
                    <a:pt x="0" y="4"/>
                    <a:pt x="5" y="0"/>
                    <a:pt x="12" y="0"/>
                  </a:cubicBezTo>
                  <a:cubicBezTo>
                    <a:pt x="14" y="0"/>
                    <a:pt x="18" y="1"/>
                    <a:pt x="21" y="2"/>
                  </a:cubicBezTo>
                  <a:cubicBezTo>
                    <a:pt x="20" y="6"/>
                    <a:pt x="20" y="6"/>
                    <a:pt x="20" y="6"/>
                  </a:cubicBezTo>
                  <a:cubicBezTo>
                    <a:pt x="17" y="5"/>
                    <a:pt x="14" y="5"/>
                    <a:pt x="12" y="5"/>
                  </a:cubicBezTo>
                  <a:cubicBezTo>
                    <a:pt x="8" y="5"/>
                    <a:pt x="6" y="7"/>
                    <a:pt x="6" y="10"/>
                  </a:cubicBezTo>
                  <a:cubicBezTo>
                    <a:pt x="6" y="18"/>
                    <a:pt x="23" y="14"/>
                    <a:pt x="23" y="26"/>
                  </a:cubicBezTo>
                  <a:cubicBezTo>
                    <a:pt x="23" y="33"/>
                    <a:pt x="18" y="37"/>
                    <a:pt x="11" y="3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37"/>
            <p:cNvSpPr>
              <a:spLocks noEditPoints="1"/>
            </p:cNvSpPr>
            <p:nvPr userDrawn="1"/>
          </p:nvSpPr>
          <p:spPr bwMode="auto">
            <a:xfrm>
              <a:off x="-1975131" y="1118302"/>
              <a:ext cx="19050" cy="141288"/>
            </a:xfrm>
            <a:custGeom>
              <a:avLst/>
              <a:gdLst>
                <a:gd name="T0" fmla="*/ 4 w 7"/>
                <a:gd name="T1" fmla="*/ 7 h 50"/>
                <a:gd name="T2" fmla="*/ 0 w 7"/>
                <a:gd name="T3" fmla="*/ 3 h 50"/>
                <a:gd name="T4" fmla="*/ 4 w 7"/>
                <a:gd name="T5" fmla="*/ 0 h 50"/>
                <a:gd name="T6" fmla="*/ 7 w 7"/>
                <a:gd name="T7" fmla="*/ 3 h 50"/>
                <a:gd name="T8" fmla="*/ 4 w 7"/>
                <a:gd name="T9" fmla="*/ 7 h 50"/>
                <a:gd name="T10" fmla="*/ 1 w 7"/>
                <a:gd name="T11" fmla="*/ 15 h 50"/>
                <a:gd name="T12" fmla="*/ 7 w 7"/>
                <a:gd name="T13" fmla="*/ 15 h 50"/>
                <a:gd name="T14" fmla="*/ 7 w 7"/>
                <a:gd name="T15" fmla="*/ 50 h 50"/>
                <a:gd name="T16" fmla="*/ 1 w 7"/>
                <a:gd name="T17" fmla="*/ 50 h 50"/>
                <a:gd name="T18" fmla="*/ 1 w 7"/>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4" y="7"/>
                  </a:moveTo>
                  <a:cubicBezTo>
                    <a:pt x="2" y="7"/>
                    <a:pt x="0" y="6"/>
                    <a:pt x="0" y="3"/>
                  </a:cubicBezTo>
                  <a:cubicBezTo>
                    <a:pt x="0" y="2"/>
                    <a:pt x="2" y="0"/>
                    <a:pt x="4" y="0"/>
                  </a:cubicBezTo>
                  <a:cubicBezTo>
                    <a:pt x="6" y="0"/>
                    <a:pt x="7" y="1"/>
                    <a:pt x="7" y="3"/>
                  </a:cubicBezTo>
                  <a:cubicBezTo>
                    <a:pt x="7" y="5"/>
                    <a:pt x="6" y="7"/>
                    <a:pt x="4" y="7"/>
                  </a:cubicBezTo>
                  <a:moveTo>
                    <a:pt x="1" y="15"/>
                  </a:moveTo>
                  <a:cubicBezTo>
                    <a:pt x="7" y="15"/>
                    <a:pt x="7" y="15"/>
                    <a:pt x="7" y="15"/>
                  </a:cubicBezTo>
                  <a:cubicBezTo>
                    <a:pt x="7" y="50"/>
                    <a:pt x="7" y="50"/>
                    <a:pt x="7" y="50"/>
                  </a:cubicBezTo>
                  <a:cubicBezTo>
                    <a:pt x="1" y="50"/>
                    <a:pt x="1" y="50"/>
                    <a:pt x="1" y="50"/>
                  </a:cubicBezTo>
                  <a:lnTo>
                    <a:pt x="1"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8"/>
            <p:cNvSpPr>
              <a:spLocks/>
            </p:cNvSpPr>
            <p:nvPr userDrawn="1"/>
          </p:nvSpPr>
          <p:spPr bwMode="auto">
            <a:xfrm>
              <a:off x="-1927506" y="1157989"/>
              <a:ext cx="122237" cy="101600"/>
            </a:xfrm>
            <a:custGeom>
              <a:avLst/>
              <a:gdLst>
                <a:gd name="T0" fmla="*/ 39 w 44"/>
                <a:gd name="T1" fmla="*/ 36 h 36"/>
                <a:gd name="T2" fmla="*/ 39 w 44"/>
                <a:gd name="T3" fmla="*/ 14 h 36"/>
                <a:gd name="T4" fmla="*/ 34 w 44"/>
                <a:gd name="T5" fmla="*/ 5 h 36"/>
                <a:gd name="T6" fmla="*/ 25 w 44"/>
                <a:gd name="T7" fmla="*/ 7 h 36"/>
                <a:gd name="T8" fmla="*/ 25 w 44"/>
                <a:gd name="T9" fmla="*/ 13 h 36"/>
                <a:gd name="T10" fmla="*/ 25 w 44"/>
                <a:gd name="T11" fmla="*/ 36 h 36"/>
                <a:gd name="T12" fmla="*/ 19 w 44"/>
                <a:gd name="T13" fmla="*/ 36 h 36"/>
                <a:gd name="T14" fmla="*/ 19 w 44"/>
                <a:gd name="T15" fmla="*/ 14 h 36"/>
                <a:gd name="T16" fmla="*/ 14 w 44"/>
                <a:gd name="T17" fmla="*/ 5 h 36"/>
                <a:gd name="T18" fmla="*/ 6 w 44"/>
                <a:gd name="T19" fmla="*/ 7 h 36"/>
                <a:gd name="T20" fmla="*/ 6 w 44"/>
                <a:gd name="T21" fmla="*/ 36 h 36"/>
                <a:gd name="T22" fmla="*/ 0 w 44"/>
                <a:gd name="T23" fmla="*/ 36 h 36"/>
                <a:gd name="T24" fmla="*/ 0 w 44"/>
                <a:gd name="T25" fmla="*/ 1 h 36"/>
                <a:gd name="T26" fmla="*/ 6 w 44"/>
                <a:gd name="T27" fmla="*/ 1 h 36"/>
                <a:gd name="T28" fmla="*/ 6 w 44"/>
                <a:gd name="T29" fmla="*/ 4 h 36"/>
                <a:gd name="T30" fmla="*/ 17 w 44"/>
                <a:gd name="T31" fmla="*/ 0 h 36"/>
                <a:gd name="T32" fmla="*/ 24 w 44"/>
                <a:gd name="T33" fmla="*/ 4 h 36"/>
                <a:gd name="T34" fmla="*/ 36 w 44"/>
                <a:gd name="T35" fmla="*/ 0 h 36"/>
                <a:gd name="T36" fmla="*/ 44 w 44"/>
                <a:gd name="T37" fmla="*/ 13 h 36"/>
                <a:gd name="T38" fmla="*/ 44 w 44"/>
                <a:gd name="T39" fmla="*/ 36 h 36"/>
                <a:gd name="T40" fmla="*/ 39 w 44"/>
                <a:gd name="T4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36">
                  <a:moveTo>
                    <a:pt x="39" y="36"/>
                  </a:moveTo>
                  <a:cubicBezTo>
                    <a:pt x="39" y="14"/>
                    <a:pt x="39" y="14"/>
                    <a:pt x="39" y="14"/>
                  </a:cubicBezTo>
                  <a:cubicBezTo>
                    <a:pt x="39" y="9"/>
                    <a:pt x="39" y="5"/>
                    <a:pt x="34" y="5"/>
                  </a:cubicBezTo>
                  <a:cubicBezTo>
                    <a:pt x="31" y="5"/>
                    <a:pt x="30" y="5"/>
                    <a:pt x="25" y="7"/>
                  </a:cubicBezTo>
                  <a:cubicBezTo>
                    <a:pt x="25" y="9"/>
                    <a:pt x="25" y="11"/>
                    <a:pt x="25" y="13"/>
                  </a:cubicBezTo>
                  <a:cubicBezTo>
                    <a:pt x="25" y="36"/>
                    <a:pt x="25" y="36"/>
                    <a:pt x="25" y="36"/>
                  </a:cubicBezTo>
                  <a:cubicBezTo>
                    <a:pt x="19" y="36"/>
                    <a:pt x="19" y="36"/>
                    <a:pt x="19" y="36"/>
                  </a:cubicBezTo>
                  <a:cubicBezTo>
                    <a:pt x="19" y="14"/>
                    <a:pt x="19" y="14"/>
                    <a:pt x="19" y="14"/>
                  </a:cubicBezTo>
                  <a:cubicBezTo>
                    <a:pt x="19" y="9"/>
                    <a:pt x="20" y="5"/>
                    <a:pt x="14" y="5"/>
                  </a:cubicBezTo>
                  <a:cubicBezTo>
                    <a:pt x="12" y="5"/>
                    <a:pt x="11" y="5"/>
                    <a:pt x="6" y="7"/>
                  </a:cubicBezTo>
                  <a:cubicBezTo>
                    <a:pt x="6" y="36"/>
                    <a:pt x="6" y="36"/>
                    <a:pt x="6" y="36"/>
                  </a:cubicBezTo>
                  <a:cubicBezTo>
                    <a:pt x="0" y="36"/>
                    <a:pt x="0" y="36"/>
                    <a:pt x="0" y="36"/>
                  </a:cubicBezTo>
                  <a:cubicBezTo>
                    <a:pt x="0" y="1"/>
                    <a:pt x="0" y="1"/>
                    <a:pt x="0" y="1"/>
                  </a:cubicBezTo>
                  <a:cubicBezTo>
                    <a:pt x="6" y="1"/>
                    <a:pt x="6" y="1"/>
                    <a:pt x="6" y="1"/>
                  </a:cubicBezTo>
                  <a:cubicBezTo>
                    <a:pt x="6" y="4"/>
                    <a:pt x="6" y="4"/>
                    <a:pt x="6" y="4"/>
                  </a:cubicBezTo>
                  <a:cubicBezTo>
                    <a:pt x="11" y="1"/>
                    <a:pt x="14" y="0"/>
                    <a:pt x="17" y="0"/>
                  </a:cubicBezTo>
                  <a:cubicBezTo>
                    <a:pt x="20" y="0"/>
                    <a:pt x="23" y="1"/>
                    <a:pt x="24" y="4"/>
                  </a:cubicBezTo>
                  <a:cubicBezTo>
                    <a:pt x="27" y="3"/>
                    <a:pt x="32" y="0"/>
                    <a:pt x="36" y="0"/>
                  </a:cubicBezTo>
                  <a:cubicBezTo>
                    <a:pt x="44" y="0"/>
                    <a:pt x="44" y="6"/>
                    <a:pt x="44" y="13"/>
                  </a:cubicBezTo>
                  <a:cubicBezTo>
                    <a:pt x="44" y="36"/>
                    <a:pt x="44" y="36"/>
                    <a:pt x="44" y="36"/>
                  </a:cubicBezTo>
                  <a:lnTo>
                    <a:pt x="39"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9"/>
            <p:cNvSpPr>
              <a:spLocks noEditPoints="1"/>
            </p:cNvSpPr>
            <p:nvPr userDrawn="1"/>
          </p:nvSpPr>
          <p:spPr bwMode="auto">
            <a:xfrm>
              <a:off x="-1776693" y="1157989"/>
              <a:ext cx="84137" cy="142875"/>
            </a:xfrm>
            <a:custGeom>
              <a:avLst/>
              <a:gdLst>
                <a:gd name="T0" fmla="*/ 17 w 30"/>
                <a:gd name="T1" fmla="*/ 37 h 51"/>
                <a:gd name="T2" fmla="*/ 6 w 30"/>
                <a:gd name="T3" fmla="*/ 33 h 51"/>
                <a:gd name="T4" fmla="*/ 6 w 30"/>
                <a:gd name="T5" fmla="*/ 51 h 51"/>
                <a:gd name="T6" fmla="*/ 0 w 30"/>
                <a:gd name="T7" fmla="*/ 51 h 51"/>
                <a:gd name="T8" fmla="*/ 0 w 30"/>
                <a:gd name="T9" fmla="*/ 1 h 51"/>
                <a:gd name="T10" fmla="*/ 6 w 30"/>
                <a:gd name="T11" fmla="*/ 1 h 51"/>
                <a:gd name="T12" fmla="*/ 6 w 30"/>
                <a:gd name="T13" fmla="*/ 4 h 51"/>
                <a:gd name="T14" fmla="*/ 18 w 30"/>
                <a:gd name="T15" fmla="*/ 0 h 51"/>
                <a:gd name="T16" fmla="*/ 30 w 30"/>
                <a:gd name="T17" fmla="*/ 18 h 51"/>
                <a:gd name="T18" fmla="*/ 17 w 30"/>
                <a:gd name="T19" fmla="*/ 37 h 51"/>
                <a:gd name="T20" fmla="*/ 16 w 30"/>
                <a:gd name="T21" fmla="*/ 5 h 51"/>
                <a:gd name="T22" fmla="*/ 6 w 30"/>
                <a:gd name="T23" fmla="*/ 7 h 51"/>
                <a:gd name="T24" fmla="*/ 6 w 30"/>
                <a:gd name="T25" fmla="*/ 29 h 51"/>
                <a:gd name="T26" fmla="*/ 15 w 30"/>
                <a:gd name="T27" fmla="*/ 32 h 51"/>
                <a:gd name="T28" fmla="*/ 24 w 30"/>
                <a:gd name="T29" fmla="*/ 19 h 51"/>
                <a:gd name="T30" fmla="*/ 16 w 30"/>
                <a:gd name="T31"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1">
                  <a:moveTo>
                    <a:pt x="17" y="37"/>
                  </a:moveTo>
                  <a:cubicBezTo>
                    <a:pt x="13" y="37"/>
                    <a:pt x="9" y="35"/>
                    <a:pt x="6" y="33"/>
                  </a:cubicBezTo>
                  <a:cubicBezTo>
                    <a:pt x="6" y="51"/>
                    <a:pt x="6" y="51"/>
                    <a:pt x="6" y="51"/>
                  </a:cubicBezTo>
                  <a:cubicBezTo>
                    <a:pt x="0" y="51"/>
                    <a:pt x="0" y="51"/>
                    <a:pt x="0" y="51"/>
                  </a:cubicBezTo>
                  <a:cubicBezTo>
                    <a:pt x="0" y="1"/>
                    <a:pt x="0" y="1"/>
                    <a:pt x="0" y="1"/>
                  </a:cubicBezTo>
                  <a:cubicBezTo>
                    <a:pt x="6" y="1"/>
                    <a:pt x="6" y="1"/>
                    <a:pt x="6" y="1"/>
                  </a:cubicBezTo>
                  <a:cubicBezTo>
                    <a:pt x="6" y="4"/>
                    <a:pt x="6" y="4"/>
                    <a:pt x="6" y="4"/>
                  </a:cubicBezTo>
                  <a:cubicBezTo>
                    <a:pt x="10" y="1"/>
                    <a:pt x="14" y="0"/>
                    <a:pt x="18" y="0"/>
                  </a:cubicBezTo>
                  <a:cubicBezTo>
                    <a:pt x="25" y="0"/>
                    <a:pt x="30" y="7"/>
                    <a:pt x="30" y="18"/>
                  </a:cubicBezTo>
                  <a:cubicBezTo>
                    <a:pt x="30" y="29"/>
                    <a:pt x="24" y="37"/>
                    <a:pt x="17" y="37"/>
                  </a:cubicBezTo>
                  <a:moveTo>
                    <a:pt x="16" y="5"/>
                  </a:moveTo>
                  <a:cubicBezTo>
                    <a:pt x="13" y="5"/>
                    <a:pt x="11" y="6"/>
                    <a:pt x="6" y="7"/>
                  </a:cubicBezTo>
                  <a:cubicBezTo>
                    <a:pt x="6" y="29"/>
                    <a:pt x="6" y="29"/>
                    <a:pt x="6" y="29"/>
                  </a:cubicBezTo>
                  <a:cubicBezTo>
                    <a:pt x="11" y="31"/>
                    <a:pt x="13" y="32"/>
                    <a:pt x="15" y="32"/>
                  </a:cubicBezTo>
                  <a:cubicBezTo>
                    <a:pt x="21" y="32"/>
                    <a:pt x="24" y="27"/>
                    <a:pt x="24" y="19"/>
                  </a:cubicBezTo>
                  <a:cubicBezTo>
                    <a:pt x="24" y="9"/>
                    <a:pt x="21" y="5"/>
                    <a:pt x="1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40"/>
            <p:cNvSpPr>
              <a:spLocks/>
            </p:cNvSpPr>
            <p:nvPr userDrawn="1"/>
          </p:nvSpPr>
          <p:spPr bwMode="auto">
            <a:xfrm>
              <a:off x="-1670331" y="1157989"/>
              <a:ext cx="46037" cy="101600"/>
            </a:xfrm>
            <a:custGeom>
              <a:avLst/>
              <a:gdLst>
                <a:gd name="T0" fmla="*/ 15 w 16"/>
                <a:gd name="T1" fmla="*/ 5 h 36"/>
                <a:gd name="T2" fmla="*/ 6 w 16"/>
                <a:gd name="T3" fmla="*/ 8 h 36"/>
                <a:gd name="T4" fmla="*/ 6 w 16"/>
                <a:gd name="T5" fmla="*/ 36 h 36"/>
                <a:gd name="T6" fmla="*/ 0 w 16"/>
                <a:gd name="T7" fmla="*/ 36 h 36"/>
                <a:gd name="T8" fmla="*/ 0 w 16"/>
                <a:gd name="T9" fmla="*/ 1 h 36"/>
                <a:gd name="T10" fmla="*/ 5 w 16"/>
                <a:gd name="T11" fmla="*/ 1 h 36"/>
                <a:gd name="T12" fmla="*/ 5 w 16"/>
                <a:gd name="T13" fmla="*/ 4 h 36"/>
                <a:gd name="T14" fmla="*/ 15 w 16"/>
                <a:gd name="T15" fmla="*/ 0 h 36"/>
                <a:gd name="T16" fmla="*/ 16 w 16"/>
                <a:gd name="T17" fmla="*/ 0 h 36"/>
                <a:gd name="T18" fmla="*/ 16 w 16"/>
                <a:gd name="T19" fmla="*/ 6 h 36"/>
                <a:gd name="T20" fmla="*/ 15 w 16"/>
                <a:gd name="T21"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15" y="5"/>
                  </a:moveTo>
                  <a:cubicBezTo>
                    <a:pt x="12" y="5"/>
                    <a:pt x="9" y="6"/>
                    <a:pt x="6" y="8"/>
                  </a:cubicBezTo>
                  <a:cubicBezTo>
                    <a:pt x="6" y="36"/>
                    <a:pt x="6" y="36"/>
                    <a:pt x="6" y="36"/>
                  </a:cubicBezTo>
                  <a:cubicBezTo>
                    <a:pt x="0" y="36"/>
                    <a:pt x="0" y="36"/>
                    <a:pt x="0" y="36"/>
                  </a:cubicBezTo>
                  <a:cubicBezTo>
                    <a:pt x="0" y="1"/>
                    <a:pt x="0" y="1"/>
                    <a:pt x="0" y="1"/>
                  </a:cubicBezTo>
                  <a:cubicBezTo>
                    <a:pt x="5" y="1"/>
                    <a:pt x="5" y="1"/>
                    <a:pt x="5" y="1"/>
                  </a:cubicBezTo>
                  <a:cubicBezTo>
                    <a:pt x="5" y="4"/>
                    <a:pt x="5" y="4"/>
                    <a:pt x="5" y="4"/>
                  </a:cubicBezTo>
                  <a:cubicBezTo>
                    <a:pt x="9" y="1"/>
                    <a:pt x="11" y="0"/>
                    <a:pt x="15" y="0"/>
                  </a:cubicBezTo>
                  <a:cubicBezTo>
                    <a:pt x="15" y="0"/>
                    <a:pt x="16" y="0"/>
                    <a:pt x="16" y="0"/>
                  </a:cubicBezTo>
                  <a:cubicBezTo>
                    <a:pt x="16" y="6"/>
                    <a:pt x="16" y="6"/>
                    <a:pt x="16" y="6"/>
                  </a:cubicBezTo>
                  <a:cubicBezTo>
                    <a:pt x="15" y="5"/>
                    <a:pt x="15" y="5"/>
                    <a:pt x="15"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41"/>
            <p:cNvSpPr>
              <a:spLocks noEditPoints="1"/>
            </p:cNvSpPr>
            <p:nvPr userDrawn="1"/>
          </p:nvSpPr>
          <p:spPr bwMode="auto">
            <a:xfrm>
              <a:off x="-1616356" y="1157989"/>
              <a:ext cx="87312" cy="104775"/>
            </a:xfrm>
            <a:custGeom>
              <a:avLst/>
              <a:gdLst>
                <a:gd name="T0" fmla="*/ 16 w 31"/>
                <a:gd name="T1" fmla="*/ 37 h 37"/>
                <a:gd name="T2" fmla="*/ 0 w 31"/>
                <a:gd name="T3" fmla="*/ 18 h 37"/>
                <a:gd name="T4" fmla="*/ 16 w 31"/>
                <a:gd name="T5" fmla="*/ 0 h 37"/>
                <a:gd name="T6" fmla="*/ 31 w 31"/>
                <a:gd name="T7" fmla="*/ 18 h 37"/>
                <a:gd name="T8" fmla="*/ 16 w 31"/>
                <a:gd name="T9" fmla="*/ 37 h 37"/>
                <a:gd name="T10" fmla="*/ 16 w 31"/>
                <a:gd name="T11" fmla="*/ 5 h 37"/>
                <a:gd name="T12" fmla="*/ 6 w 31"/>
                <a:gd name="T13" fmla="*/ 18 h 37"/>
                <a:gd name="T14" fmla="*/ 16 w 31"/>
                <a:gd name="T15" fmla="*/ 32 h 37"/>
                <a:gd name="T16" fmla="*/ 25 w 31"/>
                <a:gd name="T17" fmla="*/ 18 h 37"/>
                <a:gd name="T18" fmla="*/ 16 w 31"/>
                <a:gd name="T19"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7">
                  <a:moveTo>
                    <a:pt x="16" y="37"/>
                  </a:moveTo>
                  <a:cubicBezTo>
                    <a:pt x="6" y="37"/>
                    <a:pt x="0" y="30"/>
                    <a:pt x="0" y="18"/>
                  </a:cubicBezTo>
                  <a:cubicBezTo>
                    <a:pt x="0" y="7"/>
                    <a:pt x="6" y="0"/>
                    <a:pt x="16" y="0"/>
                  </a:cubicBezTo>
                  <a:cubicBezTo>
                    <a:pt x="26" y="0"/>
                    <a:pt x="31" y="6"/>
                    <a:pt x="31" y="18"/>
                  </a:cubicBezTo>
                  <a:cubicBezTo>
                    <a:pt x="31" y="30"/>
                    <a:pt x="26" y="37"/>
                    <a:pt x="16" y="37"/>
                  </a:cubicBezTo>
                  <a:moveTo>
                    <a:pt x="16" y="5"/>
                  </a:moveTo>
                  <a:cubicBezTo>
                    <a:pt x="9" y="5"/>
                    <a:pt x="6" y="9"/>
                    <a:pt x="6" y="18"/>
                  </a:cubicBezTo>
                  <a:cubicBezTo>
                    <a:pt x="6" y="28"/>
                    <a:pt x="9" y="32"/>
                    <a:pt x="16" y="32"/>
                  </a:cubicBezTo>
                  <a:cubicBezTo>
                    <a:pt x="22" y="32"/>
                    <a:pt x="25" y="28"/>
                    <a:pt x="25" y="18"/>
                  </a:cubicBezTo>
                  <a:cubicBezTo>
                    <a:pt x="25" y="9"/>
                    <a:pt x="23" y="5"/>
                    <a:pt x="16" y="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42"/>
            <p:cNvSpPr>
              <a:spLocks/>
            </p:cNvSpPr>
            <p:nvPr userDrawn="1"/>
          </p:nvSpPr>
          <p:spPr bwMode="auto">
            <a:xfrm>
              <a:off x="-1517931" y="1161164"/>
              <a:ext cx="87312" cy="98425"/>
            </a:xfrm>
            <a:custGeom>
              <a:avLst/>
              <a:gdLst>
                <a:gd name="T0" fmla="*/ 33 w 55"/>
                <a:gd name="T1" fmla="*/ 62 h 62"/>
                <a:gd name="T2" fmla="*/ 21 w 55"/>
                <a:gd name="T3" fmla="*/ 62 h 62"/>
                <a:gd name="T4" fmla="*/ 0 w 55"/>
                <a:gd name="T5" fmla="*/ 0 h 62"/>
                <a:gd name="T6" fmla="*/ 10 w 55"/>
                <a:gd name="T7" fmla="*/ 0 h 62"/>
                <a:gd name="T8" fmla="*/ 28 w 55"/>
                <a:gd name="T9" fmla="*/ 53 h 62"/>
                <a:gd name="T10" fmla="*/ 46 w 55"/>
                <a:gd name="T11" fmla="*/ 0 h 62"/>
                <a:gd name="T12" fmla="*/ 55 w 55"/>
                <a:gd name="T13" fmla="*/ 0 h 62"/>
                <a:gd name="T14" fmla="*/ 33 w 55"/>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2">
                  <a:moveTo>
                    <a:pt x="33" y="62"/>
                  </a:moveTo>
                  <a:lnTo>
                    <a:pt x="21" y="62"/>
                  </a:lnTo>
                  <a:lnTo>
                    <a:pt x="0" y="0"/>
                  </a:lnTo>
                  <a:lnTo>
                    <a:pt x="10" y="0"/>
                  </a:lnTo>
                  <a:lnTo>
                    <a:pt x="28" y="53"/>
                  </a:lnTo>
                  <a:lnTo>
                    <a:pt x="46" y="0"/>
                  </a:lnTo>
                  <a:lnTo>
                    <a:pt x="55" y="0"/>
                  </a:lnTo>
                  <a:lnTo>
                    <a:pt x="33"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43"/>
            <p:cNvSpPr>
              <a:spLocks noEditPoints="1"/>
            </p:cNvSpPr>
            <p:nvPr userDrawn="1"/>
          </p:nvSpPr>
          <p:spPr bwMode="auto">
            <a:xfrm>
              <a:off x="-1417918" y="1118302"/>
              <a:ext cx="23812" cy="141288"/>
            </a:xfrm>
            <a:custGeom>
              <a:avLst/>
              <a:gdLst>
                <a:gd name="T0" fmla="*/ 4 w 8"/>
                <a:gd name="T1" fmla="*/ 7 h 50"/>
                <a:gd name="T2" fmla="*/ 0 w 8"/>
                <a:gd name="T3" fmla="*/ 3 h 50"/>
                <a:gd name="T4" fmla="*/ 4 w 8"/>
                <a:gd name="T5" fmla="*/ 0 h 50"/>
                <a:gd name="T6" fmla="*/ 8 w 8"/>
                <a:gd name="T7" fmla="*/ 3 h 50"/>
                <a:gd name="T8" fmla="*/ 4 w 8"/>
                <a:gd name="T9" fmla="*/ 7 h 50"/>
                <a:gd name="T10" fmla="*/ 1 w 8"/>
                <a:gd name="T11" fmla="*/ 15 h 50"/>
                <a:gd name="T12" fmla="*/ 7 w 8"/>
                <a:gd name="T13" fmla="*/ 15 h 50"/>
                <a:gd name="T14" fmla="*/ 7 w 8"/>
                <a:gd name="T15" fmla="*/ 50 h 50"/>
                <a:gd name="T16" fmla="*/ 1 w 8"/>
                <a:gd name="T17" fmla="*/ 50 h 50"/>
                <a:gd name="T18" fmla="*/ 1 w 8"/>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50">
                  <a:moveTo>
                    <a:pt x="4" y="7"/>
                  </a:moveTo>
                  <a:cubicBezTo>
                    <a:pt x="2" y="7"/>
                    <a:pt x="0" y="6"/>
                    <a:pt x="0" y="3"/>
                  </a:cubicBezTo>
                  <a:cubicBezTo>
                    <a:pt x="0" y="2"/>
                    <a:pt x="2" y="0"/>
                    <a:pt x="4" y="0"/>
                  </a:cubicBezTo>
                  <a:cubicBezTo>
                    <a:pt x="6" y="0"/>
                    <a:pt x="8" y="1"/>
                    <a:pt x="8" y="3"/>
                  </a:cubicBezTo>
                  <a:cubicBezTo>
                    <a:pt x="8" y="5"/>
                    <a:pt x="6" y="7"/>
                    <a:pt x="4" y="7"/>
                  </a:cubicBezTo>
                  <a:moveTo>
                    <a:pt x="1" y="15"/>
                  </a:moveTo>
                  <a:cubicBezTo>
                    <a:pt x="7" y="15"/>
                    <a:pt x="7" y="15"/>
                    <a:pt x="7" y="15"/>
                  </a:cubicBezTo>
                  <a:cubicBezTo>
                    <a:pt x="7" y="50"/>
                    <a:pt x="7" y="50"/>
                    <a:pt x="7" y="50"/>
                  </a:cubicBezTo>
                  <a:cubicBezTo>
                    <a:pt x="1" y="50"/>
                    <a:pt x="1" y="50"/>
                    <a:pt x="1" y="50"/>
                  </a:cubicBezTo>
                  <a:lnTo>
                    <a:pt x="1"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44"/>
            <p:cNvSpPr>
              <a:spLocks/>
            </p:cNvSpPr>
            <p:nvPr userDrawn="1"/>
          </p:nvSpPr>
          <p:spPr bwMode="auto">
            <a:xfrm>
              <a:off x="-1370293" y="1157989"/>
              <a:ext cx="79375" cy="101600"/>
            </a:xfrm>
            <a:custGeom>
              <a:avLst/>
              <a:gdLst>
                <a:gd name="T0" fmla="*/ 22 w 28"/>
                <a:gd name="T1" fmla="*/ 36 h 36"/>
                <a:gd name="T2" fmla="*/ 22 w 28"/>
                <a:gd name="T3" fmla="*/ 14 h 36"/>
                <a:gd name="T4" fmla="*/ 16 w 28"/>
                <a:gd name="T5" fmla="*/ 5 h 36"/>
                <a:gd name="T6" fmla="*/ 6 w 28"/>
                <a:gd name="T7" fmla="*/ 7 h 36"/>
                <a:gd name="T8" fmla="*/ 6 w 28"/>
                <a:gd name="T9" fmla="*/ 36 h 36"/>
                <a:gd name="T10" fmla="*/ 0 w 28"/>
                <a:gd name="T11" fmla="*/ 36 h 36"/>
                <a:gd name="T12" fmla="*/ 0 w 28"/>
                <a:gd name="T13" fmla="*/ 1 h 36"/>
                <a:gd name="T14" fmla="*/ 6 w 28"/>
                <a:gd name="T15" fmla="*/ 1 h 36"/>
                <a:gd name="T16" fmla="*/ 6 w 28"/>
                <a:gd name="T17" fmla="*/ 4 h 36"/>
                <a:gd name="T18" fmla="*/ 18 w 28"/>
                <a:gd name="T19" fmla="*/ 0 h 36"/>
                <a:gd name="T20" fmla="*/ 26 w 28"/>
                <a:gd name="T21" fmla="*/ 3 h 36"/>
                <a:gd name="T22" fmla="*/ 28 w 28"/>
                <a:gd name="T23" fmla="*/ 13 h 36"/>
                <a:gd name="T24" fmla="*/ 28 w 28"/>
                <a:gd name="T25" fmla="*/ 36 h 36"/>
                <a:gd name="T26" fmla="*/ 22 w 28"/>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6">
                  <a:moveTo>
                    <a:pt x="22" y="36"/>
                  </a:moveTo>
                  <a:cubicBezTo>
                    <a:pt x="22" y="14"/>
                    <a:pt x="22" y="14"/>
                    <a:pt x="22" y="14"/>
                  </a:cubicBezTo>
                  <a:cubicBezTo>
                    <a:pt x="22" y="9"/>
                    <a:pt x="22" y="5"/>
                    <a:pt x="16" y="5"/>
                  </a:cubicBezTo>
                  <a:cubicBezTo>
                    <a:pt x="13" y="5"/>
                    <a:pt x="10" y="6"/>
                    <a:pt x="6" y="7"/>
                  </a:cubicBezTo>
                  <a:cubicBezTo>
                    <a:pt x="6" y="36"/>
                    <a:pt x="6" y="36"/>
                    <a:pt x="6" y="36"/>
                  </a:cubicBezTo>
                  <a:cubicBezTo>
                    <a:pt x="0" y="36"/>
                    <a:pt x="0" y="36"/>
                    <a:pt x="0" y="36"/>
                  </a:cubicBezTo>
                  <a:cubicBezTo>
                    <a:pt x="0" y="1"/>
                    <a:pt x="0" y="1"/>
                    <a:pt x="0" y="1"/>
                  </a:cubicBezTo>
                  <a:cubicBezTo>
                    <a:pt x="6" y="1"/>
                    <a:pt x="6" y="1"/>
                    <a:pt x="6" y="1"/>
                  </a:cubicBezTo>
                  <a:cubicBezTo>
                    <a:pt x="6" y="4"/>
                    <a:pt x="6" y="4"/>
                    <a:pt x="6" y="4"/>
                  </a:cubicBezTo>
                  <a:cubicBezTo>
                    <a:pt x="11" y="1"/>
                    <a:pt x="15" y="0"/>
                    <a:pt x="18" y="0"/>
                  </a:cubicBezTo>
                  <a:cubicBezTo>
                    <a:pt x="22" y="0"/>
                    <a:pt x="24" y="1"/>
                    <a:pt x="26" y="3"/>
                  </a:cubicBezTo>
                  <a:cubicBezTo>
                    <a:pt x="27" y="5"/>
                    <a:pt x="28" y="7"/>
                    <a:pt x="28" y="13"/>
                  </a:cubicBezTo>
                  <a:cubicBezTo>
                    <a:pt x="28" y="36"/>
                    <a:pt x="28" y="36"/>
                    <a:pt x="28" y="36"/>
                  </a:cubicBezTo>
                  <a:lnTo>
                    <a:pt x="22"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5"/>
            <p:cNvSpPr>
              <a:spLocks noEditPoints="1"/>
            </p:cNvSpPr>
            <p:nvPr userDrawn="1"/>
          </p:nvSpPr>
          <p:spPr bwMode="auto">
            <a:xfrm>
              <a:off x="-1268693" y="1157989"/>
              <a:ext cx="80962" cy="146050"/>
            </a:xfrm>
            <a:custGeom>
              <a:avLst/>
              <a:gdLst>
                <a:gd name="T0" fmla="*/ 25 w 29"/>
                <a:gd name="T1" fmla="*/ 49 h 52"/>
                <a:gd name="T2" fmla="*/ 15 w 29"/>
                <a:gd name="T3" fmla="*/ 52 h 52"/>
                <a:gd name="T4" fmla="*/ 2 w 29"/>
                <a:gd name="T5" fmla="*/ 50 h 52"/>
                <a:gd name="T6" fmla="*/ 3 w 29"/>
                <a:gd name="T7" fmla="*/ 46 h 52"/>
                <a:gd name="T8" fmla="*/ 12 w 29"/>
                <a:gd name="T9" fmla="*/ 47 h 52"/>
                <a:gd name="T10" fmla="*/ 22 w 29"/>
                <a:gd name="T11" fmla="*/ 43 h 52"/>
                <a:gd name="T12" fmla="*/ 23 w 29"/>
                <a:gd name="T13" fmla="*/ 34 h 52"/>
                <a:gd name="T14" fmla="*/ 23 w 29"/>
                <a:gd name="T15" fmla="*/ 32 h 52"/>
                <a:gd name="T16" fmla="*/ 12 w 29"/>
                <a:gd name="T17" fmla="*/ 36 h 52"/>
                <a:gd name="T18" fmla="*/ 0 w 29"/>
                <a:gd name="T19" fmla="*/ 18 h 52"/>
                <a:gd name="T20" fmla="*/ 13 w 29"/>
                <a:gd name="T21" fmla="*/ 0 h 52"/>
                <a:gd name="T22" fmla="*/ 23 w 29"/>
                <a:gd name="T23" fmla="*/ 4 h 52"/>
                <a:gd name="T24" fmla="*/ 23 w 29"/>
                <a:gd name="T25" fmla="*/ 1 h 52"/>
                <a:gd name="T26" fmla="*/ 29 w 29"/>
                <a:gd name="T27" fmla="*/ 1 h 52"/>
                <a:gd name="T28" fmla="*/ 29 w 29"/>
                <a:gd name="T29" fmla="*/ 34 h 52"/>
                <a:gd name="T30" fmla="*/ 25 w 29"/>
                <a:gd name="T31" fmla="*/ 49 h 52"/>
                <a:gd name="T32" fmla="*/ 23 w 29"/>
                <a:gd name="T33" fmla="*/ 7 h 52"/>
                <a:gd name="T34" fmla="*/ 14 w 29"/>
                <a:gd name="T35" fmla="*/ 5 h 52"/>
                <a:gd name="T36" fmla="*/ 6 w 29"/>
                <a:gd name="T37" fmla="*/ 18 h 52"/>
                <a:gd name="T38" fmla="*/ 14 w 29"/>
                <a:gd name="T39" fmla="*/ 31 h 52"/>
                <a:gd name="T40" fmla="*/ 23 w 29"/>
                <a:gd name="T41" fmla="*/ 29 h 52"/>
                <a:gd name="T42" fmla="*/ 23 w 29"/>
                <a:gd name="T43"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52">
                  <a:moveTo>
                    <a:pt x="25" y="49"/>
                  </a:moveTo>
                  <a:cubicBezTo>
                    <a:pt x="22" y="51"/>
                    <a:pt x="19" y="52"/>
                    <a:pt x="15" y="52"/>
                  </a:cubicBezTo>
                  <a:cubicBezTo>
                    <a:pt x="12" y="52"/>
                    <a:pt x="8" y="51"/>
                    <a:pt x="2" y="50"/>
                  </a:cubicBezTo>
                  <a:cubicBezTo>
                    <a:pt x="3" y="46"/>
                    <a:pt x="3" y="46"/>
                    <a:pt x="3" y="46"/>
                  </a:cubicBezTo>
                  <a:cubicBezTo>
                    <a:pt x="7" y="47"/>
                    <a:pt x="10" y="47"/>
                    <a:pt x="12" y="47"/>
                  </a:cubicBezTo>
                  <a:cubicBezTo>
                    <a:pt x="17" y="47"/>
                    <a:pt x="21" y="46"/>
                    <a:pt x="22" y="43"/>
                  </a:cubicBezTo>
                  <a:cubicBezTo>
                    <a:pt x="23" y="42"/>
                    <a:pt x="23" y="40"/>
                    <a:pt x="23" y="34"/>
                  </a:cubicBezTo>
                  <a:cubicBezTo>
                    <a:pt x="23" y="32"/>
                    <a:pt x="23" y="32"/>
                    <a:pt x="23" y="32"/>
                  </a:cubicBezTo>
                  <a:cubicBezTo>
                    <a:pt x="19" y="35"/>
                    <a:pt x="15" y="36"/>
                    <a:pt x="12" y="36"/>
                  </a:cubicBezTo>
                  <a:cubicBezTo>
                    <a:pt x="4" y="36"/>
                    <a:pt x="0" y="29"/>
                    <a:pt x="0" y="18"/>
                  </a:cubicBezTo>
                  <a:cubicBezTo>
                    <a:pt x="0" y="7"/>
                    <a:pt x="5" y="0"/>
                    <a:pt x="13" y="0"/>
                  </a:cubicBezTo>
                  <a:cubicBezTo>
                    <a:pt x="16" y="0"/>
                    <a:pt x="20" y="2"/>
                    <a:pt x="23" y="4"/>
                  </a:cubicBezTo>
                  <a:cubicBezTo>
                    <a:pt x="23" y="1"/>
                    <a:pt x="23" y="1"/>
                    <a:pt x="23" y="1"/>
                  </a:cubicBezTo>
                  <a:cubicBezTo>
                    <a:pt x="29" y="1"/>
                    <a:pt x="29" y="1"/>
                    <a:pt x="29" y="1"/>
                  </a:cubicBezTo>
                  <a:cubicBezTo>
                    <a:pt x="29" y="34"/>
                    <a:pt x="29" y="34"/>
                    <a:pt x="29" y="34"/>
                  </a:cubicBezTo>
                  <a:cubicBezTo>
                    <a:pt x="29" y="43"/>
                    <a:pt x="28" y="46"/>
                    <a:pt x="25" y="49"/>
                  </a:cubicBezTo>
                  <a:moveTo>
                    <a:pt x="23" y="7"/>
                  </a:moveTo>
                  <a:cubicBezTo>
                    <a:pt x="18" y="5"/>
                    <a:pt x="17" y="5"/>
                    <a:pt x="14" y="5"/>
                  </a:cubicBezTo>
                  <a:cubicBezTo>
                    <a:pt x="9" y="5"/>
                    <a:pt x="6" y="10"/>
                    <a:pt x="6" y="18"/>
                  </a:cubicBezTo>
                  <a:cubicBezTo>
                    <a:pt x="6" y="27"/>
                    <a:pt x="8" y="31"/>
                    <a:pt x="14" y="31"/>
                  </a:cubicBezTo>
                  <a:cubicBezTo>
                    <a:pt x="16" y="31"/>
                    <a:pt x="18" y="31"/>
                    <a:pt x="23" y="29"/>
                  </a:cubicBezTo>
                  <a:lnTo>
                    <a:pt x="23" y="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Rectangle 46"/>
            <p:cNvSpPr>
              <a:spLocks noChangeArrowheads="1"/>
            </p:cNvSpPr>
            <p:nvPr userDrawn="1"/>
          </p:nvSpPr>
          <p:spPr bwMode="auto">
            <a:xfrm>
              <a:off x="-1105181" y="1110364"/>
              <a:ext cx="15875" cy="149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47"/>
            <p:cNvSpPr>
              <a:spLocks noEditPoints="1"/>
            </p:cNvSpPr>
            <p:nvPr userDrawn="1"/>
          </p:nvSpPr>
          <p:spPr bwMode="auto">
            <a:xfrm>
              <a:off x="-1060731" y="1118302"/>
              <a:ext cx="19050" cy="141288"/>
            </a:xfrm>
            <a:custGeom>
              <a:avLst/>
              <a:gdLst>
                <a:gd name="T0" fmla="*/ 3 w 7"/>
                <a:gd name="T1" fmla="*/ 7 h 50"/>
                <a:gd name="T2" fmla="*/ 0 w 7"/>
                <a:gd name="T3" fmla="*/ 3 h 50"/>
                <a:gd name="T4" fmla="*/ 3 w 7"/>
                <a:gd name="T5" fmla="*/ 0 h 50"/>
                <a:gd name="T6" fmla="*/ 7 w 7"/>
                <a:gd name="T7" fmla="*/ 3 h 50"/>
                <a:gd name="T8" fmla="*/ 3 w 7"/>
                <a:gd name="T9" fmla="*/ 7 h 50"/>
                <a:gd name="T10" fmla="*/ 0 w 7"/>
                <a:gd name="T11" fmla="*/ 15 h 50"/>
                <a:gd name="T12" fmla="*/ 6 w 7"/>
                <a:gd name="T13" fmla="*/ 15 h 50"/>
                <a:gd name="T14" fmla="*/ 6 w 7"/>
                <a:gd name="T15" fmla="*/ 50 h 50"/>
                <a:gd name="T16" fmla="*/ 0 w 7"/>
                <a:gd name="T17" fmla="*/ 50 h 50"/>
                <a:gd name="T18" fmla="*/ 0 w 7"/>
                <a:gd name="T19" fmla="*/ 1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0">
                  <a:moveTo>
                    <a:pt x="3" y="7"/>
                  </a:moveTo>
                  <a:cubicBezTo>
                    <a:pt x="1" y="7"/>
                    <a:pt x="0" y="6"/>
                    <a:pt x="0" y="3"/>
                  </a:cubicBezTo>
                  <a:cubicBezTo>
                    <a:pt x="0" y="2"/>
                    <a:pt x="1" y="0"/>
                    <a:pt x="3" y="0"/>
                  </a:cubicBezTo>
                  <a:cubicBezTo>
                    <a:pt x="5" y="0"/>
                    <a:pt x="7" y="1"/>
                    <a:pt x="7" y="3"/>
                  </a:cubicBezTo>
                  <a:cubicBezTo>
                    <a:pt x="7" y="5"/>
                    <a:pt x="5" y="7"/>
                    <a:pt x="3" y="7"/>
                  </a:cubicBezTo>
                  <a:moveTo>
                    <a:pt x="0" y="15"/>
                  </a:moveTo>
                  <a:cubicBezTo>
                    <a:pt x="6" y="15"/>
                    <a:pt x="6" y="15"/>
                    <a:pt x="6" y="15"/>
                  </a:cubicBezTo>
                  <a:cubicBezTo>
                    <a:pt x="6" y="50"/>
                    <a:pt x="6" y="50"/>
                    <a:pt x="6" y="50"/>
                  </a:cubicBezTo>
                  <a:cubicBezTo>
                    <a:pt x="0" y="50"/>
                    <a:pt x="0" y="50"/>
                    <a:pt x="0" y="50"/>
                  </a:cubicBezTo>
                  <a:lnTo>
                    <a:pt x="0"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48"/>
            <p:cNvSpPr>
              <a:spLocks/>
            </p:cNvSpPr>
            <p:nvPr userDrawn="1"/>
          </p:nvSpPr>
          <p:spPr bwMode="auto">
            <a:xfrm>
              <a:off x="-1027393" y="1161164"/>
              <a:ext cx="87312" cy="98425"/>
            </a:xfrm>
            <a:custGeom>
              <a:avLst/>
              <a:gdLst>
                <a:gd name="T0" fmla="*/ 34 w 55"/>
                <a:gd name="T1" fmla="*/ 62 h 62"/>
                <a:gd name="T2" fmla="*/ 21 w 55"/>
                <a:gd name="T3" fmla="*/ 62 h 62"/>
                <a:gd name="T4" fmla="*/ 0 w 55"/>
                <a:gd name="T5" fmla="*/ 0 h 62"/>
                <a:gd name="T6" fmla="*/ 11 w 55"/>
                <a:gd name="T7" fmla="*/ 0 h 62"/>
                <a:gd name="T8" fmla="*/ 28 w 55"/>
                <a:gd name="T9" fmla="*/ 53 h 62"/>
                <a:gd name="T10" fmla="*/ 46 w 55"/>
                <a:gd name="T11" fmla="*/ 0 h 62"/>
                <a:gd name="T12" fmla="*/ 55 w 55"/>
                <a:gd name="T13" fmla="*/ 0 h 62"/>
                <a:gd name="T14" fmla="*/ 34 w 55"/>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2">
                  <a:moveTo>
                    <a:pt x="34" y="62"/>
                  </a:moveTo>
                  <a:lnTo>
                    <a:pt x="21" y="62"/>
                  </a:lnTo>
                  <a:lnTo>
                    <a:pt x="0" y="0"/>
                  </a:lnTo>
                  <a:lnTo>
                    <a:pt x="11" y="0"/>
                  </a:lnTo>
                  <a:lnTo>
                    <a:pt x="28" y="53"/>
                  </a:lnTo>
                  <a:lnTo>
                    <a:pt x="46" y="0"/>
                  </a:lnTo>
                  <a:lnTo>
                    <a:pt x="55" y="0"/>
                  </a:lnTo>
                  <a:lnTo>
                    <a:pt x="34" y="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49"/>
            <p:cNvSpPr>
              <a:spLocks noEditPoints="1"/>
            </p:cNvSpPr>
            <p:nvPr userDrawn="1"/>
          </p:nvSpPr>
          <p:spPr bwMode="auto">
            <a:xfrm>
              <a:off x="-928968" y="1157989"/>
              <a:ext cx="79375" cy="104775"/>
            </a:xfrm>
            <a:custGeom>
              <a:avLst/>
              <a:gdLst>
                <a:gd name="T0" fmla="*/ 6 w 28"/>
                <a:gd name="T1" fmla="*/ 19 h 37"/>
                <a:gd name="T2" fmla="*/ 6 w 28"/>
                <a:gd name="T3" fmla="*/ 20 h 37"/>
                <a:gd name="T4" fmla="*/ 15 w 28"/>
                <a:gd name="T5" fmla="*/ 32 h 37"/>
                <a:gd name="T6" fmla="*/ 27 w 28"/>
                <a:gd name="T7" fmla="*/ 29 h 37"/>
                <a:gd name="T8" fmla="*/ 28 w 28"/>
                <a:gd name="T9" fmla="*/ 32 h 37"/>
                <a:gd name="T10" fmla="*/ 13 w 28"/>
                <a:gd name="T11" fmla="*/ 37 h 37"/>
                <a:gd name="T12" fmla="*/ 0 w 28"/>
                <a:gd name="T13" fmla="*/ 20 h 37"/>
                <a:gd name="T14" fmla="*/ 15 w 28"/>
                <a:gd name="T15" fmla="*/ 0 h 37"/>
                <a:gd name="T16" fmla="*/ 28 w 28"/>
                <a:gd name="T17" fmla="*/ 17 h 37"/>
                <a:gd name="T18" fmla="*/ 28 w 28"/>
                <a:gd name="T19" fmla="*/ 19 h 37"/>
                <a:gd name="T20" fmla="*/ 6 w 28"/>
                <a:gd name="T21" fmla="*/ 19 h 37"/>
                <a:gd name="T22" fmla="*/ 15 w 28"/>
                <a:gd name="T23" fmla="*/ 4 h 37"/>
                <a:gd name="T24" fmla="*/ 6 w 28"/>
                <a:gd name="T25" fmla="*/ 15 h 37"/>
                <a:gd name="T26" fmla="*/ 23 w 28"/>
                <a:gd name="T27" fmla="*/ 15 h 37"/>
                <a:gd name="T28" fmla="*/ 15 w 28"/>
                <a:gd name="T29"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37">
                  <a:moveTo>
                    <a:pt x="6" y="19"/>
                  </a:moveTo>
                  <a:cubicBezTo>
                    <a:pt x="6" y="20"/>
                    <a:pt x="6" y="20"/>
                    <a:pt x="6" y="20"/>
                  </a:cubicBezTo>
                  <a:cubicBezTo>
                    <a:pt x="6" y="28"/>
                    <a:pt x="9" y="32"/>
                    <a:pt x="15" y="32"/>
                  </a:cubicBezTo>
                  <a:cubicBezTo>
                    <a:pt x="18" y="32"/>
                    <a:pt x="21" y="31"/>
                    <a:pt x="27" y="29"/>
                  </a:cubicBezTo>
                  <a:cubicBezTo>
                    <a:pt x="28" y="32"/>
                    <a:pt x="28" y="32"/>
                    <a:pt x="28" y="32"/>
                  </a:cubicBezTo>
                  <a:cubicBezTo>
                    <a:pt x="21" y="36"/>
                    <a:pt x="18" y="37"/>
                    <a:pt x="13" y="37"/>
                  </a:cubicBezTo>
                  <a:cubicBezTo>
                    <a:pt x="5" y="37"/>
                    <a:pt x="0" y="30"/>
                    <a:pt x="0" y="20"/>
                  </a:cubicBezTo>
                  <a:cubicBezTo>
                    <a:pt x="0" y="7"/>
                    <a:pt x="5" y="0"/>
                    <a:pt x="15" y="0"/>
                  </a:cubicBezTo>
                  <a:cubicBezTo>
                    <a:pt x="24" y="0"/>
                    <a:pt x="28" y="6"/>
                    <a:pt x="28" y="17"/>
                  </a:cubicBezTo>
                  <a:cubicBezTo>
                    <a:pt x="28" y="19"/>
                    <a:pt x="28" y="19"/>
                    <a:pt x="28" y="19"/>
                  </a:cubicBezTo>
                  <a:lnTo>
                    <a:pt x="6" y="19"/>
                  </a:lnTo>
                  <a:close/>
                  <a:moveTo>
                    <a:pt x="15" y="4"/>
                  </a:moveTo>
                  <a:cubicBezTo>
                    <a:pt x="10" y="4"/>
                    <a:pt x="7" y="8"/>
                    <a:pt x="6" y="15"/>
                  </a:cubicBezTo>
                  <a:cubicBezTo>
                    <a:pt x="23" y="15"/>
                    <a:pt x="23" y="15"/>
                    <a:pt x="23" y="15"/>
                  </a:cubicBezTo>
                  <a:cubicBezTo>
                    <a:pt x="23" y="7"/>
                    <a:pt x="20" y="4"/>
                    <a:pt x="15" y="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50"/>
            <p:cNvSpPr>
              <a:spLocks/>
            </p:cNvSpPr>
            <p:nvPr userDrawn="1"/>
          </p:nvSpPr>
          <p:spPr bwMode="auto">
            <a:xfrm>
              <a:off x="-836893" y="1157989"/>
              <a:ext cx="65087" cy="104775"/>
            </a:xfrm>
            <a:custGeom>
              <a:avLst/>
              <a:gdLst>
                <a:gd name="T0" fmla="*/ 11 w 23"/>
                <a:gd name="T1" fmla="*/ 37 h 37"/>
                <a:gd name="T2" fmla="*/ 0 w 23"/>
                <a:gd name="T3" fmla="*/ 35 h 37"/>
                <a:gd name="T4" fmla="*/ 1 w 23"/>
                <a:gd name="T5" fmla="*/ 31 h 37"/>
                <a:gd name="T6" fmla="*/ 9 w 23"/>
                <a:gd name="T7" fmla="*/ 32 h 37"/>
                <a:gd name="T8" fmla="*/ 17 w 23"/>
                <a:gd name="T9" fmla="*/ 26 h 37"/>
                <a:gd name="T10" fmla="*/ 12 w 23"/>
                <a:gd name="T11" fmla="*/ 20 h 37"/>
                <a:gd name="T12" fmla="*/ 0 w 23"/>
                <a:gd name="T13" fmla="*/ 10 h 37"/>
                <a:gd name="T14" fmla="*/ 12 w 23"/>
                <a:gd name="T15" fmla="*/ 0 h 37"/>
                <a:gd name="T16" fmla="*/ 21 w 23"/>
                <a:gd name="T17" fmla="*/ 2 h 37"/>
                <a:gd name="T18" fmla="*/ 20 w 23"/>
                <a:gd name="T19" fmla="*/ 6 h 37"/>
                <a:gd name="T20" fmla="*/ 12 w 23"/>
                <a:gd name="T21" fmla="*/ 4 h 37"/>
                <a:gd name="T22" fmla="*/ 6 w 23"/>
                <a:gd name="T23" fmla="*/ 10 h 37"/>
                <a:gd name="T24" fmla="*/ 23 w 23"/>
                <a:gd name="T25" fmla="*/ 25 h 37"/>
                <a:gd name="T26" fmla="*/ 11 w 23"/>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37">
                  <a:moveTo>
                    <a:pt x="11" y="37"/>
                  </a:moveTo>
                  <a:cubicBezTo>
                    <a:pt x="7" y="37"/>
                    <a:pt x="4" y="36"/>
                    <a:pt x="0" y="35"/>
                  </a:cubicBezTo>
                  <a:cubicBezTo>
                    <a:pt x="1" y="31"/>
                    <a:pt x="1" y="31"/>
                    <a:pt x="1" y="31"/>
                  </a:cubicBezTo>
                  <a:cubicBezTo>
                    <a:pt x="5" y="32"/>
                    <a:pt x="7" y="32"/>
                    <a:pt x="9" y="32"/>
                  </a:cubicBezTo>
                  <a:cubicBezTo>
                    <a:pt x="15" y="32"/>
                    <a:pt x="17" y="30"/>
                    <a:pt x="17" y="26"/>
                  </a:cubicBezTo>
                  <a:cubicBezTo>
                    <a:pt x="17" y="23"/>
                    <a:pt x="16" y="22"/>
                    <a:pt x="12" y="20"/>
                  </a:cubicBezTo>
                  <a:cubicBezTo>
                    <a:pt x="5" y="19"/>
                    <a:pt x="0" y="16"/>
                    <a:pt x="0" y="10"/>
                  </a:cubicBezTo>
                  <a:cubicBezTo>
                    <a:pt x="0" y="4"/>
                    <a:pt x="5" y="0"/>
                    <a:pt x="12" y="0"/>
                  </a:cubicBezTo>
                  <a:cubicBezTo>
                    <a:pt x="15" y="0"/>
                    <a:pt x="18" y="1"/>
                    <a:pt x="21" y="2"/>
                  </a:cubicBezTo>
                  <a:cubicBezTo>
                    <a:pt x="20" y="6"/>
                    <a:pt x="20" y="6"/>
                    <a:pt x="20" y="6"/>
                  </a:cubicBezTo>
                  <a:cubicBezTo>
                    <a:pt x="17" y="5"/>
                    <a:pt x="14" y="4"/>
                    <a:pt x="12" y="4"/>
                  </a:cubicBezTo>
                  <a:cubicBezTo>
                    <a:pt x="8" y="4"/>
                    <a:pt x="6" y="6"/>
                    <a:pt x="6" y="10"/>
                  </a:cubicBezTo>
                  <a:cubicBezTo>
                    <a:pt x="6" y="18"/>
                    <a:pt x="23" y="13"/>
                    <a:pt x="23" y="25"/>
                  </a:cubicBezTo>
                  <a:cubicBezTo>
                    <a:pt x="23" y="32"/>
                    <a:pt x="19" y="37"/>
                    <a:pt x="11" y="3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2" name="Group 51"/>
          <p:cNvGrpSpPr/>
          <p:nvPr userDrawn="1"/>
        </p:nvGrpSpPr>
        <p:grpSpPr>
          <a:xfrm>
            <a:off x="9362272" y="3637244"/>
            <a:ext cx="2247909" cy="2201807"/>
            <a:chOff x="-2039938" y="4012733"/>
            <a:chExt cx="1935163" cy="1895475"/>
          </a:xfrm>
        </p:grpSpPr>
        <p:sp>
          <p:nvSpPr>
            <p:cNvPr id="53" name="Freeform 58"/>
            <p:cNvSpPr>
              <a:spLocks noEditPoints="1"/>
            </p:cNvSpPr>
            <p:nvPr userDrawn="1"/>
          </p:nvSpPr>
          <p:spPr bwMode="auto">
            <a:xfrm>
              <a:off x="-1189038" y="4012733"/>
              <a:ext cx="663575" cy="636588"/>
            </a:xfrm>
            <a:custGeom>
              <a:avLst/>
              <a:gdLst>
                <a:gd name="T0" fmla="*/ 94 w 237"/>
                <a:gd name="T1" fmla="*/ 55 h 227"/>
                <a:gd name="T2" fmla="*/ 102 w 237"/>
                <a:gd name="T3" fmla="*/ 28 h 227"/>
                <a:gd name="T4" fmla="*/ 93 w 237"/>
                <a:gd name="T5" fmla="*/ 13 h 227"/>
                <a:gd name="T6" fmla="*/ 67 w 237"/>
                <a:gd name="T7" fmla="*/ 5 h 227"/>
                <a:gd name="T8" fmla="*/ 59 w 237"/>
                <a:gd name="T9" fmla="*/ 32 h 227"/>
                <a:gd name="T10" fmla="*/ 67 w 237"/>
                <a:gd name="T11" fmla="*/ 47 h 227"/>
                <a:gd name="T12" fmla="*/ 94 w 237"/>
                <a:gd name="T13" fmla="*/ 55 h 227"/>
                <a:gd name="T14" fmla="*/ 205 w 237"/>
                <a:gd name="T15" fmla="*/ 15 h 227"/>
                <a:gd name="T16" fmla="*/ 177 w 237"/>
                <a:gd name="T17" fmla="*/ 16 h 227"/>
                <a:gd name="T18" fmla="*/ 112 w 237"/>
                <a:gd name="T19" fmla="*/ 86 h 227"/>
                <a:gd name="T20" fmla="*/ 18 w 237"/>
                <a:gd name="T21" fmla="*/ 104 h 227"/>
                <a:gd name="T22" fmla="*/ 2 w 237"/>
                <a:gd name="T23" fmla="*/ 128 h 227"/>
                <a:gd name="T24" fmla="*/ 25 w 237"/>
                <a:gd name="T25" fmla="*/ 143 h 227"/>
                <a:gd name="T26" fmla="*/ 99 w 237"/>
                <a:gd name="T27" fmla="*/ 129 h 227"/>
                <a:gd name="T28" fmla="*/ 89 w 237"/>
                <a:gd name="T29" fmla="*/ 203 h 227"/>
                <a:gd name="T30" fmla="*/ 107 w 237"/>
                <a:gd name="T31" fmla="*/ 225 h 227"/>
                <a:gd name="T32" fmla="*/ 129 w 237"/>
                <a:gd name="T33" fmla="*/ 208 h 227"/>
                <a:gd name="T34" fmla="*/ 138 w 237"/>
                <a:gd name="T35" fmla="*/ 134 h 227"/>
                <a:gd name="T36" fmla="*/ 206 w 237"/>
                <a:gd name="T37" fmla="*/ 166 h 227"/>
                <a:gd name="T38" fmla="*/ 232 w 237"/>
                <a:gd name="T39" fmla="*/ 156 h 227"/>
                <a:gd name="T40" fmla="*/ 223 w 237"/>
                <a:gd name="T41" fmla="*/ 130 h 227"/>
                <a:gd name="T42" fmla="*/ 155 w 237"/>
                <a:gd name="T43" fmla="*/ 98 h 227"/>
                <a:gd name="T44" fmla="*/ 206 w 237"/>
                <a:gd name="T45" fmla="*/ 43 h 227"/>
                <a:gd name="T46" fmla="*/ 205 w 237"/>
                <a:gd name="T47" fmla="*/ 1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7" h="227">
                  <a:moveTo>
                    <a:pt x="94" y="55"/>
                  </a:moveTo>
                  <a:cubicBezTo>
                    <a:pt x="104" y="50"/>
                    <a:pt x="107" y="38"/>
                    <a:pt x="102" y="28"/>
                  </a:cubicBezTo>
                  <a:cubicBezTo>
                    <a:pt x="93" y="13"/>
                    <a:pt x="93" y="13"/>
                    <a:pt x="93" y="13"/>
                  </a:cubicBezTo>
                  <a:cubicBezTo>
                    <a:pt x="88" y="3"/>
                    <a:pt x="76" y="0"/>
                    <a:pt x="67" y="5"/>
                  </a:cubicBezTo>
                  <a:cubicBezTo>
                    <a:pt x="57" y="10"/>
                    <a:pt x="54" y="23"/>
                    <a:pt x="59" y="32"/>
                  </a:cubicBezTo>
                  <a:cubicBezTo>
                    <a:pt x="67" y="47"/>
                    <a:pt x="67" y="47"/>
                    <a:pt x="67" y="47"/>
                  </a:cubicBezTo>
                  <a:cubicBezTo>
                    <a:pt x="73" y="57"/>
                    <a:pt x="85" y="61"/>
                    <a:pt x="94" y="55"/>
                  </a:cubicBezTo>
                  <a:moveTo>
                    <a:pt x="205" y="15"/>
                  </a:moveTo>
                  <a:cubicBezTo>
                    <a:pt x="197" y="8"/>
                    <a:pt x="184" y="8"/>
                    <a:pt x="177" y="16"/>
                  </a:cubicBezTo>
                  <a:cubicBezTo>
                    <a:pt x="112" y="86"/>
                    <a:pt x="112" y="86"/>
                    <a:pt x="112" y="86"/>
                  </a:cubicBezTo>
                  <a:cubicBezTo>
                    <a:pt x="18" y="104"/>
                    <a:pt x="18" y="104"/>
                    <a:pt x="18" y="104"/>
                  </a:cubicBezTo>
                  <a:cubicBezTo>
                    <a:pt x="7" y="107"/>
                    <a:pt x="0" y="117"/>
                    <a:pt x="2" y="128"/>
                  </a:cubicBezTo>
                  <a:cubicBezTo>
                    <a:pt x="4" y="138"/>
                    <a:pt x="15" y="145"/>
                    <a:pt x="25" y="143"/>
                  </a:cubicBezTo>
                  <a:cubicBezTo>
                    <a:pt x="99" y="129"/>
                    <a:pt x="99" y="129"/>
                    <a:pt x="99" y="129"/>
                  </a:cubicBezTo>
                  <a:cubicBezTo>
                    <a:pt x="89" y="203"/>
                    <a:pt x="89" y="203"/>
                    <a:pt x="89" y="203"/>
                  </a:cubicBezTo>
                  <a:cubicBezTo>
                    <a:pt x="88" y="214"/>
                    <a:pt x="96" y="224"/>
                    <a:pt x="107" y="225"/>
                  </a:cubicBezTo>
                  <a:cubicBezTo>
                    <a:pt x="118" y="227"/>
                    <a:pt x="128" y="219"/>
                    <a:pt x="129" y="208"/>
                  </a:cubicBezTo>
                  <a:cubicBezTo>
                    <a:pt x="138" y="134"/>
                    <a:pt x="138" y="134"/>
                    <a:pt x="138" y="134"/>
                  </a:cubicBezTo>
                  <a:cubicBezTo>
                    <a:pt x="206" y="166"/>
                    <a:pt x="206" y="166"/>
                    <a:pt x="206" y="166"/>
                  </a:cubicBezTo>
                  <a:cubicBezTo>
                    <a:pt x="216" y="170"/>
                    <a:pt x="227" y="166"/>
                    <a:pt x="232" y="156"/>
                  </a:cubicBezTo>
                  <a:cubicBezTo>
                    <a:pt x="237" y="146"/>
                    <a:pt x="232" y="134"/>
                    <a:pt x="223" y="130"/>
                  </a:cubicBezTo>
                  <a:cubicBezTo>
                    <a:pt x="155" y="98"/>
                    <a:pt x="155" y="98"/>
                    <a:pt x="155" y="98"/>
                  </a:cubicBezTo>
                  <a:cubicBezTo>
                    <a:pt x="206" y="43"/>
                    <a:pt x="206" y="43"/>
                    <a:pt x="206" y="43"/>
                  </a:cubicBezTo>
                  <a:cubicBezTo>
                    <a:pt x="213" y="35"/>
                    <a:pt x="213" y="23"/>
                    <a:pt x="205" y="1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9"/>
            <p:cNvSpPr>
              <a:spLocks noEditPoints="1"/>
            </p:cNvSpPr>
            <p:nvPr userDrawn="1"/>
          </p:nvSpPr>
          <p:spPr bwMode="auto">
            <a:xfrm>
              <a:off x="-2039938" y="4474695"/>
              <a:ext cx="965200" cy="925513"/>
            </a:xfrm>
            <a:custGeom>
              <a:avLst/>
              <a:gdLst>
                <a:gd name="T0" fmla="*/ 137 w 344"/>
                <a:gd name="T1" fmla="*/ 80 h 330"/>
                <a:gd name="T2" fmla="*/ 148 w 344"/>
                <a:gd name="T3" fmla="*/ 41 h 330"/>
                <a:gd name="T4" fmla="*/ 136 w 344"/>
                <a:gd name="T5" fmla="*/ 19 h 330"/>
                <a:gd name="T6" fmla="*/ 97 w 344"/>
                <a:gd name="T7" fmla="*/ 7 h 330"/>
                <a:gd name="T8" fmla="*/ 85 w 344"/>
                <a:gd name="T9" fmla="*/ 47 h 330"/>
                <a:gd name="T10" fmla="*/ 98 w 344"/>
                <a:gd name="T11" fmla="*/ 69 h 330"/>
                <a:gd name="T12" fmla="*/ 137 w 344"/>
                <a:gd name="T13" fmla="*/ 80 h 330"/>
                <a:gd name="T14" fmla="*/ 298 w 344"/>
                <a:gd name="T15" fmla="*/ 22 h 330"/>
                <a:gd name="T16" fmla="*/ 257 w 344"/>
                <a:gd name="T17" fmla="*/ 24 h 330"/>
                <a:gd name="T18" fmla="*/ 163 w 344"/>
                <a:gd name="T19" fmla="*/ 125 h 330"/>
                <a:gd name="T20" fmla="*/ 26 w 344"/>
                <a:gd name="T21" fmla="*/ 152 h 330"/>
                <a:gd name="T22" fmla="*/ 3 w 344"/>
                <a:gd name="T23" fmla="*/ 185 h 330"/>
                <a:gd name="T24" fmla="*/ 37 w 344"/>
                <a:gd name="T25" fmla="*/ 208 h 330"/>
                <a:gd name="T26" fmla="*/ 143 w 344"/>
                <a:gd name="T27" fmla="*/ 187 h 330"/>
                <a:gd name="T28" fmla="*/ 130 w 344"/>
                <a:gd name="T29" fmla="*/ 296 h 330"/>
                <a:gd name="T30" fmla="*/ 155 w 344"/>
                <a:gd name="T31" fmla="*/ 328 h 330"/>
                <a:gd name="T32" fmla="*/ 187 w 344"/>
                <a:gd name="T33" fmla="*/ 303 h 330"/>
                <a:gd name="T34" fmla="*/ 201 w 344"/>
                <a:gd name="T35" fmla="*/ 195 h 330"/>
                <a:gd name="T36" fmla="*/ 299 w 344"/>
                <a:gd name="T37" fmla="*/ 241 h 330"/>
                <a:gd name="T38" fmla="*/ 337 w 344"/>
                <a:gd name="T39" fmla="*/ 227 h 330"/>
                <a:gd name="T40" fmla="*/ 323 w 344"/>
                <a:gd name="T41" fmla="*/ 188 h 330"/>
                <a:gd name="T42" fmla="*/ 225 w 344"/>
                <a:gd name="T43" fmla="*/ 143 h 330"/>
                <a:gd name="T44" fmla="*/ 299 w 344"/>
                <a:gd name="T45" fmla="*/ 63 h 330"/>
                <a:gd name="T46" fmla="*/ 298 w 344"/>
                <a:gd name="T47" fmla="*/ 2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4" h="330">
                  <a:moveTo>
                    <a:pt x="137" y="80"/>
                  </a:moveTo>
                  <a:cubicBezTo>
                    <a:pt x="151" y="72"/>
                    <a:pt x="156" y="55"/>
                    <a:pt x="148" y="41"/>
                  </a:cubicBezTo>
                  <a:cubicBezTo>
                    <a:pt x="136" y="19"/>
                    <a:pt x="136" y="19"/>
                    <a:pt x="136" y="19"/>
                  </a:cubicBezTo>
                  <a:cubicBezTo>
                    <a:pt x="128" y="5"/>
                    <a:pt x="111" y="0"/>
                    <a:pt x="97" y="7"/>
                  </a:cubicBezTo>
                  <a:cubicBezTo>
                    <a:pt x="83" y="15"/>
                    <a:pt x="78" y="33"/>
                    <a:pt x="85" y="47"/>
                  </a:cubicBezTo>
                  <a:cubicBezTo>
                    <a:pt x="98" y="69"/>
                    <a:pt x="98" y="69"/>
                    <a:pt x="98" y="69"/>
                  </a:cubicBezTo>
                  <a:cubicBezTo>
                    <a:pt x="106" y="83"/>
                    <a:pt x="123" y="88"/>
                    <a:pt x="137" y="80"/>
                  </a:cubicBezTo>
                  <a:moveTo>
                    <a:pt x="298" y="22"/>
                  </a:moveTo>
                  <a:cubicBezTo>
                    <a:pt x="286" y="11"/>
                    <a:pt x="268" y="12"/>
                    <a:pt x="257" y="24"/>
                  </a:cubicBezTo>
                  <a:cubicBezTo>
                    <a:pt x="163" y="125"/>
                    <a:pt x="163" y="125"/>
                    <a:pt x="163" y="125"/>
                  </a:cubicBezTo>
                  <a:cubicBezTo>
                    <a:pt x="26" y="152"/>
                    <a:pt x="26" y="152"/>
                    <a:pt x="26" y="152"/>
                  </a:cubicBezTo>
                  <a:cubicBezTo>
                    <a:pt x="10" y="155"/>
                    <a:pt x="0" y="170"/>
                    <a:pt x="3" y="185"/>
                  </a:cubicBezTo>
                  <a:cubicBezTo>
                    <a:pt x="6" y="201"/>
                    <a:pt x="21" y="211"/>
                    <a:pt x="37" y="208"/>
                  </a:cubicBezTo>
                  <a:cubicBezTo>
                    <a:pt x="143" y="187"/>
                    <a:pt x="143" y="187"/>
                    <a:pt x="143" y="187"/>
                  </a:cubicBezTo>
                  <a:cubicBezTo>
                    <a:pt x="130" y="296"/>
                    <a:pt x="130" y="296"/>
                    <a:pt x="130" y="296"/>
                  </a:cubicBezTo>
                  <a:cubicBezTo>
                    <a:pt x="128" y="311"/>
                    <a:pt x="139" y="326"/>
                    <a:pt x="155" y="328"/>
                  </a:cubicBezTo>
                  <a:cubicBezTo>
                    <a:pt x="171" y="330"/>
                    <a:pt x="185" y="318"/>
                    <a:pt x="187" y="303"/>
                  </a:cubicBezTo>
                  <a:cubicBezTo>
                    <a:pt x="201" y="195"/>
                    <a:pt x="201" y="195"/>
                    <a:pt x="201" y="195"/>
                  </a:cubicBezTo>
                  <a:cubicBezTo>
                    <a:pt x="299" y="241"/>
                    <a:pt x="299" y="241"/>
                    <a:pt x="299" y="241"/>
                  </a:cubicBezTo>
                  <a:cubicBezTo>
                    <a:pt x="314" y="247"/>
                    <a:pt x="331" y="241"/>
                    <a:pt x="337" y="227"/>
                  </a:cubicBezTo>
                  <a:cubicBezTo>
                    <a:pt x="344" y="212"/>
                    <a:pt x="338" y="195"/>
                    <a:pt x="323" y="188"/>
                  </a:cubicBezTo>
                  <a:cubicBezTo>
                    <a:pt x="225" y="143"/>
                    <a:pt x="225" y="143"/>
                    <a:pt x="225" y="143"/>
                  </a:cubicBezTo>
                  <a:cubicBezTo>
                    <a:pt x="299" y="63"/>
                    <a:pt x="299" y="63"/>
                    <a:pt x="299" y="63"/>
                  </a:cubicBezTo>
                  <a:cubicBezTo>
                    <a:pt x="310" y="51"/>
                    <a:pt x="309" y="33"/>
                    <a:pt x="298" y="2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60"/>
            <p:cNvSpPr>
              <a:spLocks noEditPoints="1"/>
            </p:cNvSpPr>
            <p:nvPr userDrawn="1"/>
          </p:nvSpPr>
          <p:spPr bwMode="auto">
            <a:xfrm>
              <a:off x="-1198563" y="4825533"/>
              <a:ext cx="1093788" cy="1082675"/>
            </a:xfrm>
            <a:custGeom>
              <a:avLst/>
              <a:gdLst>
                <a:gd name="T0" fmla="*/ 168 w 390"/>
                <a:gd name="T1" fmla="*/ 96 h 386"/>
                <a:gd name="T2" fmla="*/ 185 w 390"/>
                <a:gd name="T3" fmla="*/ 52 h 386"/>
                <a:gd name="T4" fmla="*/ 174 w 390"/>
                <a:gd name="T5" fmla="*/ 25 h 386"/>
                <a:gd name="T6" fmla="*/ 130 w 390"/>
                <a:gd name="T7" fmla="*/ 8 h 386"/>
                <a:gd name="T8" fmla="*/ 112 w 390"/>
                <a:gd name="T9" fmla="*/ 51 h 386"/>
                <a:gd name="T10" fmla="*/ 124 w 390"/>
                <a:gd name="T11" fmla="*/ 78 h 386"/>
                <a:gd name="T12" fmla="*/ 168 w 390"/>
                <a:gd name="T13" fmla="*/ 96 h 386"/>
                <a:gd name="T14" fmla="*/ 359 w 390"/>
                <a:gd name="T15" fmla="*/ 48 h 386"/>
                <a:gd name="T16" fmla="*/ 312 w 390"/>
                <a:gd name="T17" fmla="*/ 45 h 386"/>
                <a:gd name="T18" fmla="*/ 192 w 390"/>
                <a:gd name="T19" fmla="*/ 150 h 386"/>
                <a:gd name="T20" fmla="*/ 32 w 390"/>
                <a:gd name="T21" fmla="*/ 165 h 386"/>
                <a:gd name="T22" fmla="*/ 2 w 390"/>
                <a:gd name="T23" fmla="*/ 201 h 386"/>
                <a:gd name="T24" fmla="*/ 38 w 390"/>
                <a:gd name="T25" fmla="*/ 231 h 386"/>
                <a:gd name="T26" fmla="*/ 163 w 390"/>
                <a:gd name="T27" fmla="*/ 220 h 386"/>
                <a:gd name="T28" fmla="*/ 135 w 390"/>
                <a:gd name="T29" fmla="*/ 342 h 386"/>
                <a:gd name="T30" fmla="*/ 160 w 390"/>
                <a:gd name="T31" fmla="*/ 382 h 386"/>
                <a:gd name="T32" fmla="*/ 200 w 390"/>
                <a:gd name="T33" fmla="*/ 357 h 386"/>
                <a:gd name="T34" fmla="*/ 227 w 390"/>
                <a:gd name="T35" fmla="*/ 235 h 386"/>
                <a:gd name="T36" fmla="*/ 335 w 390"/>
                <a:gd name="T37" fmla="*/ 299 h 386"/>
                <a:gd name="T38" fmla="*/ 381 w 390"/>
                <a:gd name="T39" fmla="*/ 287 h 386"/>
                <a:gd name="T40" fmla="*/ 369 w 390"/>
                <a:gd name="T41" fmla="*/ 242 h 386"/>
                <a:gd name="T42" fmla="*/ 262 w 390"/>
                <a:gd name="T43" fmla="*/ 178 h 386"/>
                <a:gd name="T44" fmla="*/ 356 w 390"/>
                <a:gd name="T45" fmla="*/ 95 h 386"/>
                <a:gd name="T46" fmla="*/ 359 w 390"/>
                <a:gd name="T47" fmla="*/ 4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386">
                  <a:moveTo>
                    <a:pt x="168" y="96"/>
                  </a:moveTo>
                  <a:cubicBezTo>
                    <a:pt x="185" y="89"/>
                    <a:pt x="192" y="69"/>
                    <a:pt x="185" y="52"/>
                  </a:cubicBezTo>
                  <a:cubicBezTo>
                    <a:pt x="174" y="25"/>
                    <a:pt x="174" y="25"/>
                    <a:pt x="174" y="25"/>
                  </a:cubicBezTo>
                  <a:cubicBezTo>
                    <a:pt x="166" y="8"/>
                    <a:pt x="147" y="0"/>
                    <a:pt x="130" y="8"/>
                  </a:cubicBezTo>
                  <a:cubicBezTo>
                    <a:pt x="113" y="15"/>
                    <a:pt x="105" y="35"/>
                    <a:pt x="112" y="51"/>
                  </a:cubicBezTo>
                  <a:cubicBezTo>
                    <a:pt x="124" y="78"/>
                    <a:pt x="124" y="78"/>
                    <a:pt x="124" y="78"/>
                  </a:cubicBezTo>
                  <a:cubicBezTo>
                    <a:pt x="131" y="95"/>
                    <a:pt x="151" y="103"/>
                    <a:pt x="168" y="96"/>
                  </a:cubicBezTo>
                  <a:moveTo>
                    <a:pt x="359" y="48"/>
                  </a:moveTo>
                  <a:cubicBezTo>
                    <a:pt x="347" y="34"/>
                    <a:pt x="326" y="33"/>
                    <a:pt x="312" y="45"/>
                  </a:cubicBezTo>
                  <a:cubicBezTo>
                    <a:pt x="192" y="150"/>
                    <a:pt x="192" y="150"/>
                    <a:pt x="192" y="150"/>
                  </a:cubicBezTo>
                  <a:cubicBezTo>
                    <a:pt x="32" y="165"/>
                    <a:pt x="32" y="165"/>
                    <a:pt x="32" y="165"/>
                  </a:cubicBezTo>
                  <a:cubicBezTo>
                    <a:pt x="13" y="167"/>
                    <a:pt x="0" y="183"/>
                    <a:pt x="2" y="201"/>
                  </a:cubicBezTo>
                  <a:cubicBezTo>
                    <a:pt x="3" y="220"/>
                    <a:pt x="19" y="233"/>
                    <a:pt x="38" y="231"/>
                  </a:cubicBezTo>
                  <a:cubicBezTo>
                    <a:pt x="163" y="220"/>
                    <a:pt x="163" y="220"/>
                    <a:pt x="163" y="220"/>
                  </a:cubicBezTo>
                  <a:cubicBezTo>
                    <a:pt x="135" y="342"/>
                    <a:pt x="135" y="342"/>
                    <a:pt x="135" y="342"/>
                  </a:cubicBezTo>
                  <a:cubicBezTo>
                    <a:pt x="131" y="360"/>
                    <a:pt x="142" y="378"/>
                    <a:pt x="160" y="382"/>
                  </a:cubicBezTo>
                  <a:cubicBezTo>
                    <a:pt x="178" y="386"/>
                    <a:pt x="196" y="375"/>
                    <a:pt x="200" y="357"/>
                  </a:cubicBezTo>
                  <a:cubicBezTo>
                    <a:pt x="227" y="235"/>
                    <a:pt x="227" y="235"/>
                    <a:pt x="227" y="235"/>
                  </a:cubicBezTo>
                  <a:cubicBezTo>
                    <a:pt x="335" y="299"/>
                    <a:pt x="335" y="299"/>
                    <a:pt x="335" y="299"/>
                  </a:cubicBezTo>
                  <a:cubicBezTo>
                    <a:pt x="351" y="308"/>
                    <a:pt x="371" y="303"/>
                    <a:pt x="381" y="287"/>
                  </a:cubicBezTo>
                  <a:cubicBezTo>
                    <a:pt x="390" y="272"/>
                    <a:pt x="385" y="251"/>
                    <a:pt x="369" y="242"/>
                  </a:cubicBezTo>
                  <a:cubicBezTo>
                    <a:pt x="262" y="178"/>
                    <a:pt x="262" y="178"/>
                    <a:pt x="262" y="178"/>
                  </a:cubicBezTo>
                  <a:cubicBezTo>
                    <a:pt x="356" y="95"/>
                    <a:pt x="356" y="95"/>
                    <a:pt x="356" y="95"/>
                  </a:cubicBezTo>
                  <a:cubicBezTo>
                    <a:pt x="370" y="83"/>
                    <a:pt x="371" y="62"/>
                    <a:pt x="359" y="4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a:xfrm>
            <a:off x="831850" y="1709738"/>
            <a:ext cx="8742456" cy="2852737"/>
          </a:xfrm>
        </p:spPr>
        <p:txBody>
          <a:bodyPr anchor="b"/>
          <a:lstStyle>
            <a:lvl1pPr>
              <a:defRPr sz="4400">
                <a:solidFill>
                  <a:schemeClr val="bg1"/>
                </a:solidFill>
              </a:defRPr>
            </a:lvl1pPr>
          </a:lstStyle>
          <a:p>
            <a:r>
              <a:rPr lang="en-US"/>
              <a:t>Click to edit Master title style</a:t>
            </a:r>
            <a:endParaRPr lang="en-GB" dirty="0"/>
          </a:p>
        </p:txBody>
      </p:sp>
      <p:sp>
        <p:nvSpPr>
          <p:cNvPr id="3" name="Text Placeholder 2"/>
          <p:cNvSpPr>
            <a:spLocks noGrp="1"/>
          </p:cNvSpPr>
          <p:nvPr>
            <p:ph type="body" idx="1"/>
          </p:nvPr>
        </p:nvSpPr>
        <p:spPr>
          <a:xfrm>
            <a:off x="831850" y="4589463"/>
            <a:ext cx="8437656"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rgbClr val="221E5B"/>
                </a:solidFill>
              </a:defRPr>
            </a:lvl1pPr>
          </a:lstStyle>
          <a:p>
            <a:r>
              <a:rPr lang="en-GB"/>
              <a:t>This footer is edited in &gt;Insert &gt; Header &amp; Footer</a:t>
            </a:r>
            <a:endParaRPr lang="en-GB" dirty="0"/>
          </a:p>
        </p:txBody>
      </p:sp>
      <p:sp>
        <p:nvSpPr>
          <p:cNvPr id="6" name="Slide Number Placeholder 5"/>
          <p:cNvSpPr>
            <a:spLocks noGrp="1"/>
          </p:cNvSpPr>
          <p:nvPr>
            <p:ph type="sldNum" sz="quarter" idx="12"/>
          </p:nvPr>
        </p:nvSpPr>
        <p:spPr/>
        <p:txBody>
          <a:bodyPr/>
          <a:lstStyle/>
          <a:p>
            <a:r>
              <a:rPr lang="en-GB" dirty="0"/>
              <a:t>Slide </a:t>
            </a:r>
            <a:fld id="{5F4C8201-D8A8-417D-8A18-42E93E6C5D44}" type="slidenum">
              <a:rPr lang="en-GB" b="1" smtClean="0"/>
              <a:pPr/>
              <a:t>‹#›</a:t>
            </a:fld>
            <a:endParaRPr lang="en-GB" b="1" dirty="0"/>
          </a:p>
        </p:txBody>
      </p:sp>
      <p:sp>
        <p:nvSpPr>
          <p:cNvPr id="57" name="Date Placeholder 3"/>
          <p:cNvSpPr>
            <a:spLocks noGrp="1"/>
          </p:cNvSpPr>
          <p:nvPr>
            <p:ph type="dt" sz="half" idx="2"/>
          </p:nvPr>
        </p:nvSpPr>
        <p:spPr>
          <a:xfrm>
            <a:off x="8271434" y="6434038"/>
            <a:ext cx="1945715" cy="365125"/>
          </a:xfrm>
          <a:prstGeom prst="rect">
            <a:avLst/>
          </a:prstGeom>
        </p:spPr>
        <p:txBody>
          <a:bodyPr anchor="ctr"/>
          <a:lstStyle>
            <a:lvl1pPr algn="r">
              <a:defRPr sz="1200">
                <a:solidFill>
                  <a:srgbClr val="221E5B"/>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14473796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lvl1pPr marL="228600"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72200" y="1825625"/>
            <a:ext cx="5181600" cy="4351338"/>
          </a:xfrm>
        </p:spPr>
        <p:txBody>
          <a:bodyPr/>
          <a:lstStyle>
            <a:lvl1pPr marL="228600"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This footer is edited in &gt;Insert &gt; Header &amp; Footer</a:t>
            </a:r>
          </a:p>
        </p:txBody>
      </p:sp>
      <p:sp>
        <p:nvSpPr>
          <p:cNvPr id="7" name="Slide Number Placeholder 6"/>
          <p:cNvSpPr>
            <a:spLocks noGrp="1"/>
          </p:cNvSpPr>
          <p:nvPr>
            <p:ph type="sldNum" sz="quarter" idx="12"/>
          </p:nvPr>
        </p:nvSpPr>
        <p:spPr/>
        <p:txBody>
          <a:bodyPr/>
          <a:lstStyle/>
          <a:p>
            <a:r>
              <a:rPr lang="en-GB" dirty="0">
                <a:solidFill>
                  <a:schemeClr val="bg1"/>
                </a:solidFill>
              </a:rPr>
              <a:t>Slide</a:t>
            </a:r>
            <a:r>
              <a:rPr lang="en-GB" dirty="0"/>
              <a:t> </a:t>
            </a:r>
            <a:fld id="{5F4C8201-D8A8-417D-8A18-42E93E6C5D44}" type="slidenum">
              <a:rPr lang="en-GB" b="1" smtClean="0"/>
              <a:pPr/>
              <a:t>‹#›</a:t>
            </a:fld>
            <a:endParaRPr lang="en-GB" b="1" dirty="0"/>
          </a:p>
        </p:txBody>
      </p:sp>
      <p:sp>
        <p:nvSpPr>
          <p:cNvPr id="8" name="Date Placeholder 3"/>
          <p:cNvSpPr>
            <a:spLocks noGrp="1"/>
          </p:cNvSpPr>
          <p:nvPr>
            <p:ph type="dt" sz="half" idx="13"/>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27689342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marL="228600"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marL="228600"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7"/>
          <p:cNvSpPr>
            <a:spLocks noGrp="1"/>
          </p:cNvSpPr>
          <p:nvPr>
            <p:ph type="ftr" sz="quarter" idx="11"/>
          </p:nvPr>
        </p:nvSpPr>
        <p:spPr/>
        <p:txBody>
          <a:bodyPr/>
          <a:lstStyle/>
          <a:p>
            <a:r>
              <a:rPr lang="en-GB"/>
              <a:t>This footer is edited in &gt;Insert &gt; Header &amp; Footer</a:t>
            </a:r>
          </a:p>
        </p:txBody>
      </p:sp>
      <p:sp>
        <p:nvSpPr>
          <p:cNvPr id="9" name="Slide Number Placeholder 8"/>
          <p:cNvSpPr>
            <a:spLocks noGrp="1"/>
          </p:cNvSpPr>
          <p:nvPr>
            <p:ph type="sldNum" sz="quarter" idx="12"/>
          </p:nvPr>
        </p:nvSpPr>
        <p:spPr/>
        <p:txBody>
          <a:bodyPr/>
          <a:lstStyle/>
          <a:p>
            <a:fld id="{5F4C8201-D8A8-417D-8A18-42E93E6C5D44}" type="slidenum">
              <a:rPr lang="en-GB" smtClean="0"/>
              <a:t>‹#›</a:t>
            </a:fld>
            <a:endParaRPr lang="en-GB"/>
          </a:p>
        </p:txBody>
      </p:sp>
      <p:sp>
        <p:nvSpPr>
          <p:cNvPr id="10" name="Date Placeholder 3"/>
          <p:cNvSpPr>
            <a:spLocks noGrp="1"/>
          </p:cNvSpPr>
          <p:nvPr>
            <p:ph type="dt" sz="half" idx="13"/>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1686636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p>
            <a:r>
              <a:rPr lang="en-GB"/>
              <a:t>This footer is edited in &gt;Insert &gt; Header &amp; Footer</a:t>
            </a:r>
          </a:p>
        </p:txBody>
      </p:sp>
      <p:sp>
        <p:nvSpPr>
          <p:cNvPr id="5" name="Slide Number Placeholder 4"/>
          <p:cNvSpPr>
            <a:spLocks noGrp="1"/>
          </p:cNvSpPr>
          <p:nvPr>
            <p:ph type="sldNum" sz="quarter" idx="12"/>
          </p:nvPr>
        </p:nvSpPr>
        <p:spPr/>
        <p:txBody>
          <a:bodyPr/>
          <a:lstStyle/>
          <a:p>
            <a:fld id="{5F4C8201-D8A8-417D-8A18-42E93E6C5D44}" type="slidenum">
              <a:rPr lang="en-GB" smtClean="0"/>
              <a:t>‹#›</a:t>
            </a:fld>
            <a:endParaRPr lang="en-GB"/>
          </a:p>
        </p:txBody>
      </p:sp>
      <p:sp>
        <p:nvSpPr>
          <p:cNvPr id="6" name="Date Placeholder 3"/>
          <p:cNvSpPr>
            <a:spLocks noGrp="1"/>
          </p:cNvSpPr>
          <p:nvPr>
            <p:ph type="dt" sz="half" idx="2"/>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1007145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a:t>This footer is edited in &gt;Insert &gt; Header &amp; Footer</a:t>
            </a:r>
          </a:p>
        </p:txBody>
      </p:sp>
      <p:sp>
        <p:nvSpPr>
          <p:cNvPr id="4" name="Slide Number Placeholder 3"/>
          <p:cNvSpPr>
            <a:spLocks noGrp="1"/>
          </p:cNvSpPr>
          <p:nvPr>
            <p:ph type="sldNum" sz="quarter" idx="12"/>
          </p:nvPr>
        </p:nvSpPr>
        <p:spPr/>
        <p:txBody>
          <a:bodyPr/>
          <a:lstStyle/>
          <a:p>
            <a:fld id="{5F4C8201-D8A8-417D-8A18-42E93E6C5D44}" type="slidenum">
              <a:rPr lang="en-GB" smtClean="0"/>
              <a:t>‹#›</a:t>
            </a:fld>
            <a:endParaRPr lang="en-GB"/>
          </a:p>
        </p:txBody>
      </p:sp>
      <p:sp>
        <p:nvSpPr>
          <p:cNvPr id="5" name="Date Placeholder 3"/>
          <p:cNvSpPr>
            <a:spLocks noGrp="1"/>
          </p:cNvSpPr>
          <p:nvPr>
            <p:ph type="dt" sz="half" idx="2"/>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2596125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1467853"/>
            <a:ext cx="6172200" cy="439319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This footer is edited in &gt;Insert &gt; Header &amp; Footer</a:t>
            </a:r>
          </a:p>
        </p:txBody>
      </p:sp>
      <p:sp>
        <p:nvSpPr>
          <p:cNvPr id="7" name="Slide Number Placeholder 6"/>
          <p:cNvSpPr>
            <a:spLocks noGrp="1"/>
          </p:cNvSpPr>
          <p:nvPr>
            <p:ph type="sldNum" sz="quarter" idx="12"/>
          </p:nvPr>
        </p:nvSpPr>
        <p:spPr/>
        <p:txBody>
          <a:bodyPr/>
          <a:lstStyle/>
          <a:p>
            <a:r>
              <a:rPr lang="en-GB" dirty="0">
                <a:solidFill>
                  <a:schemeClr val="bg1"/>
                </a:solidFill>
              </a:rPr>
              <a:t>Slide</a:t>
            </a:r>
            <a:r>
              <a:rPr lang="en-GB" dirty="0"/>
              <a:t> </a:t>
            </a:r>
            <a:fld id="{5F4C8201-D8A8-417D-8A18-42E93E6C5D44}" type="slidenum">
              <a:rPr lang="en-GB" b="1" smtClean="0"/>
              <a:pPr/>
              <a:t>‹#›</a:t>
            </a:fld>
            <a:endParaRPr lang="en-GB" b="1" dirty="0"/>
          </a:p>
        </p:txBody>
      </p:sp>
      <p:sp>
        <p:nvSpPr>
          <p:cNvPr id="8" name="Date Placeholder 3"/>
          <p:cNvSpPr>
            <a:spLocks noGrp="1"/>
          </p:cNvSpPr>
          <p:nvPr>
            <p:ph type="dt" sz="half" idx="13"/>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21240012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1411705"/>
            <a:ext cx="6172200" cy="444934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GB"/>
              <a:t>This footer is edited in &gt;Insert &gt; Header &amp; Footer</a:t>
            </a:r>
          </a:p>
        </p:txBody>
      </p:sp>
      <p:sp>
        <p:nvSpPr>
          <p:cNvPr id="7" name="Slide Number Placeholder 6"/>
          <p:cNvSpPr>
            <a:spLocks noGrp="1"/>
          </p:cNvSpPr>
          <p:nvPr>
            <p:ph type="sldNum" sz="quarter" idx="12"/>
          </p:nvPr>
        </p:nvSpPr>
        <p:spPr/>
        <p:txBody>
          <a:bodyPr/>
          <a:lstStyle/>
          <a:p>
            <a:r>
              <a:rPr lang="en-GB" dirty="0">
                <a:solidFill>
                  <a:schemeClr val="bg1"/>
                </a:solidFill>
              </a:rPr>
              <a:t>Slide</a:t>
            </a:r>
            <a:r>
              <a:rPr lang="en-GB" dirty="0"/>
              <a:t> </a:t>
            </a:r>
            <a:fld id="{5F4C8201-D8A8-417D-8A18-42E93E6C5D44}" type="slidenum">
              <a:rPr lang="en-GB" b="1" smtClean="0"/>
              <a:pPr/>
              <a:t>‹#›</a:t>
            </a:fld>
            <a:endParaRPr lang="en-GB" b="1" dirty="0"/>
          </a:p>
        </p:txBody>
      </p:sp>
      <p:sp>
        <p:nvSpPr>
          <p:cNvPr id="8" name="Date Placeholder 3"/>
          <p:cNvSpPr>
            <a:spLocks noGrp="1"/>
          </p:cNvSpPr>
          <p:nvPr>
            <p:ph type="dt" sz="half" idx="13"/>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3803659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0" name="Freeform 54"/>
          <p:cNvSpPr>
            <a:spLocks/>
          </p:cNvSpPr>
          <p:nvPr userDrawn="1"/>
        </p:nvSpPr>
        <p:spPr bwMode="auto">
          <a:xfrm>
            <a:off x="666001" y="6315812"/>
            <a:ext cx="10924476" cy="542188"/>
          </a:xfrm>
          <a:custGeom>
            <a:avLst/>
            <a:gdLst>
              <a:gd name="T0" fmla="*/ 3000 w 3000"/>
              <a:gd name="T1" fmla="*/ 146 h 146"/>
              <a:gd name="T2" fmla="*/ 3000 w 3000"/>
              <a:gd name="T3" fmla="*/ 49 h 146"/>
              <a:gd name="T4" fmla="*/ 2951 w 3000"/>
              <a:gd name="T5" fmla="*/ 0 h 146"/>
              <a:gd name="T6" fmla="*/ 48 w 3000"/>
              <a:gd name="T7" fmla="*/ 0 h 146"/>
              <a:gd name="T8" fmla="*/ 0 w 3000"/>
              <a:gd name="T9" fmla="*/ 49 h 146"/>
              <a:gd name="T10" fmla="*/ 0 w 3000"/>
              <a:gd name="T11" fmla="*/ 146 h 146"/>
              <a:gd name="T12" fmla="*/ 3000 w 3000"/>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3000" h="146">
                <a:moveTo>
                  <a:pt x="3000" y="146"/>
                </a:moveTo>
                <a:cubicBezTo>
                  <a:pt x="3000" y="49"/>
                  <a:pt x="3000" y="49"/>
                  <a:pt x="3000" y="49"/>
                </a:cubicBezTo>
                <a:cubicBezTo>
                  <a:pt x="3000" y="22"/>
                  <a:pt x="2978" y="0"/>
                  <a:pt x="2951" y="0"/>
                </a:cubicBezTo>
                <a:cubicBezTo>
                  <a:pt x="48" y="0"/>
                  <a:pt x="48" y="0"/>
                  <a:pt x="48" y="0"/>
                </a:cubicBezTo>
                <a:cubicBezTo>
                  <a:pt x="21" y="0"/>
                  <a:pt x="0" y="22"/>
                  <a:pt x="0" y="49"/>
                </a:cubicBezTo>
                <a:cubicBezTo>
                  <a:pt x="0" y="146"/>
                  <a:pt x="0" y="146"/>
                  <a:pt x="0" y="146"/>
                </a:cubicBezTo>
                <a:lnTo>
                  <a:pt x="3000" y="146"/>
                </a:lnTo>
                <a:close/>
              </a:path>
            </a:pathLst>
          </a:custGeom>
          <a:solidFill>
            <a:srgbClr val="2092B6"/>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Placeholder 1"/>
          <p:cNvSpPr>
            <a:spLocks noGrp="1"/>
          </p:cNvSpPr>
          <p:nvPr>
            <p:ph type="title"/>
          </p:nvPr>
        </p:nvSpPr>
        <p:spPr>
          <a:xfrm>
            <a:off x="838200" y="365125"/>
            <a:ext cx="8994775" cy="1325563"/>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838200" y="6434038"/>
            <a:ext cx="7364971" cy="365125"/>
          </a:xfrm>
          <a:prstGeom prst="rect">
            <a:avLst/>
          </a:prstGeom>
        </p:spPr>
        <p:txBody>
          <a:bodyPr vert="horz" lIns="91440" tIns="45720" rIns="91440" bIns="45720" rtlCol="0" anchor="ctr"/>
          <a:lstStyle>
            <a:lvl1pPr algn="l">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GB"/>
              <a:t>This footer is edited in &gt;Insert &gt; Header &amp; Footer</a:t>
            </a:r>
            <a:endParaRPr lang="en-GB" dirty="0"/>
          </a:p>
        </p:txBody>
      </p:sp>
      <p:sp>
        <p:nvSpPr>
          <p:cNvPr id="6" name="Slide Number Placeholder 5"/>
          <p:cNvSpPr>
            <a:spLocks noGrp="1"/>
          </p:cNvSpPr>
          <p:nvPr>
            <p:ph type="sldNum" sz="quarter" idx="4"/>
          </p:nvPr>
        </p:nvSpPr>
        <p:spPr>
          <a:xfrm>
            <a:off x="10285412" y="6434038"/>
            <a:ext cx="1068387" cy="365125"/>
          </a:xfrm>
          <a:prstGeom prst="rect">
            <a:avLst/>
          </a:prstGeom>
        </p:spPr>
        <p:txBody>
          <a:bodyPr vert="horz" lIns="91440" tIns="45720" rIns="91440" bIns="45720" rtlCol="0" anchor="ctr"/>
          <a:lstStyle>
            <a:lvl1pPr algn="r">
              <a:defRPr sz="1200">
                <a:solidFill>
                  <a:srgbClr val="221E5B"/>
                </a:solidFill>
                <a:latin typeface="Tahoma" panose="020B0604030504040204" pitchFamily="34" charset="0"/>
                <a:ea typeface="Tahoma" panose="020B0604030504040204" pitchFamily="34" charset="0"/>
                <a:cs typeface="Tahoma" panose="020B0604030504040204" pitchFamily="34" charset="0"/>
              </a:defRPr>
            </a:lvl1pPr>
          </a:lstStyle>
          <a:p>
            <a:r>
              <a:rPr lang="en-GB" dirty="0">
                <a:solidFill>
                  <a:schemeClr val="bg1"/>
                </a:solidFill>
              </a:rPr>
              <a:t> Slide</a:t>
            </a:r>
            <a:r>
              <a:rPr lang="en-GB" dirty="0"/>
              <a:t> </a:t>
            </a:r>
            <a:fld id="{5F4C8201-D8A8-417D-8A18-42E93E6C5D44}" type="slidenum">
              <a:rPr lang="en-GB" b="1" smtClean="0"/>
              <a:pPr/>
              <a:t>‹#›</a:t>
            </a:fld>
            <a:endParaRPr lang="en-GB" b="1" dirty="0"/>
          </a:p>
        </p:txBody>
      </p:sp>
      <p:sp>
        <p:nvSpPr>
          <p:cNvPr id="8" name="Freeform 9"/>
          <p:cNvSpPr>
            <a:spLocks/>
          </p:cNvSpPr>
          <p:nvPr userDrawn="1"/>
        </p:nvSpPr>
        <p:spPr bwMode="auto">
          <a:xfrm>
            <a:off x="11098213" y="365125"/>
            <a:ext cx="61912" cy="90488"/>
          </a:xfrm>
          <a:custGeom>
            <a:avLst/>
            <a:gdLst>
              <a:gd name="T0" fmla="*/ 0 w 22"/>
              <a:gd name="T1" fmla="*/ 11 h 32"/>
              <a:gd name="T2" fmla="*/ 11 w 22"/>
              <a:gd name="T3" fmla="*/ 0 h 32"/>
              <a:gd name="T4" fmla="*/ 22 w 22"/>
              <a:gd name="T5" fmla="*/ 11 h 32"/>
              <a:gd name="T6" fmla="*/ 22 w 22"/>
              <a:gd name="T7" fmla="*/ 21 h 32"/>
              <a:gd name="T8" fmla="*/ 11 w 22"/>
              <a:gd name="T9" fmla="*/ 32 h 32"/>
              <a:gd name="T10" fmla="*/ 0 w 22"/>
              <a:gd name="T11" fmla="*/ 21 h 32"/>
              <a:gd name="T12" fmla="*/ 0 w 22"/>
              <a:gd name="T13" fmla="*/ 11 h 32"/>
            </a:gdLst>
            <a:ahLst/>
            <a:cxnLst>
              <a:cxn ang="0">
                <a:pos x="T0" y="T1"/>
              </a:cxn>
              <a:cxn ang="0">
                <a:pos x="T2" y="T3"/>
              </a:cxn>
              <a:cxn ang="0">
                <a:pos x="T4" y="T5"/>
              </a:cxn>
              <a:cxn ang="0">
                <a:pos x="T6" y="T7"/>
              </a:cxn>
              <a:cxn ang="0">
                <a:pos x="T8" y="T9"/>
              </a:cxn>
              <a:cxn ang="0">
                <a:pos x="T10" y="T11"/>
              </a:cxn>
              <a:cxn ang="0">
                <a:pos x="T12" y="T13"/>
              </a:cxn>
            </a:cxnLst>
            <a:rect l="0" t="0" r="r" b="b"/>
            <a:pathLst>
              <a:path w="22" h="32">
                <a:moveTo>
                  <a:pt x="0" y="11"/>
                </a:moveTo>
                <a:cubicBezTo>
                  <a:pt x="0" y="5"/>
                  <a:pt x="5" y="0"/>
                  <a:pt x="11" y="0"/>
                </a:cubicBezTo>
                <a:cubicBezTo>
                  <a:pt x="17" y="0"/>
                  <a:pt x="22" y="5"/>
                  <a:pt x="22" y="11"/>
                </a:cubicBezTo>
                <a:cubicBezTo>
                  <a:pt x="22" y="21"/>
                  <a:pt x="22" y="21"/>
                  <a:pt x="22" y="21"/>
                </a:cubicBezTo>
                <a:cubicBezTo>
                  <a:pt x="22" y="27"/>
                  <a:pt x="17" y="32"/>
                  <a:pt x="11" y="32"/>
                </a:cubicBezTo>
                <a:cubicBezTo>
                  <a:pt x="5" y="32"/>
                  <a:pt x="0" y="27"/>
                  <a:pt x="0" y="21"/>
                </a:cubicBezTo>
                <a:lnTo>
                  <a:pt x="0" y="11"/>
                </a:lnTo>
                <a:close/>
              </a:path>
            </a:pathLst>
          </a:custGeom>
          <a:solidFill>
            <a:srgbClr val="339A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9" name="Freeform 10"/>
          <p:cNvSpPr>
            <a:spLocks/>
          </p:cNvSpPr>
          <p:nvPr userDrawn="1"/>
        </p:nvSpPr>
        <p:spPr bwMode="auto">
          <a:xfrm>
            <a:off x="10944225" y="458788"/>
            <a:ext cx="369887" cy="246063"/>
          </a:xfrm>
          <a:custGeom>
            <a:avLst/>
            <a:gdLst>
              <a:gd name="T0" fmla="*/ 130 w 132"/>
              <a:gd name="T1" fmla="*/ 9 h 88"/>
              <a:gd name="T2" fmla="*/ 116 w 132"/>
              <a:gd name="T3" fmla="*/ 2 h 88"/>
              <a:gd name="T4" fmla="*/ 66 w 132"/>
              <a:gd name="T5" fmla="*/ 18 h 88"/>
              <a:gd name="T6" fmla="*/ 16 w 132"/>
              <a:gd name="T7" fmla="*/ 2 h 88"/>
              <a:gd name="T8" fmla="*/ 2 w 132"/>
              <a:gd name="T9" fmla="*/ 9 h 88"/>
              <a:gd name="T10" fmla="*/ 9 w 132"/>
              <a:gd name="T11" fmla="*/ 23 h 88"/>
              <a:gd name="T12" fmla="*/ 48 w 132"/>
              <a:gd name="T13" fmla="*/ 36 h 88"/>
              <a:gd name="T14" fmla="*/ 24 w 132"/>
              <a:gd name="T15" fmla="*/ 69 h 88"/>
              <a:gd name="T16" fmla="*/ 26 w 132"/>
              <a:gd name="T17" fmla="*/ 84 h 88"/>
              <a:gd name="T18" fmla="*/ 42 w 132"/>
              <a:gd name="T19" fmla="*/ 82 h 88"/>
              <a:gd name="T20" fmla="*/ 66 w 132"/>
              <a:gd name="T21" fmla="*/ 48 h 88"/>
              <a:gd name="T22" fmla="*/ 90 w 132"/>
              <a:gd name="T23" fmla="*/ 82 h 88"/>
              <a:gd name="T24" fmla="*/ 105 w 132"/>
              <a:gd name="T25" fmla="*/ 84 h 88"/>
              <a:gd name="T26" fmla="*/ 108 w 132"/>
              <a:gd name="T27" fmla="*/ 69 h 88"/>
              <a:gd name="T28" fmla="*/ 84 w 132"/>
              <a:gd name="T29" fmla="*/ 36 h 88"/>
              <a:gd name="T30" fmla="*/ 123 w 132"/>
              <a:gd name="T31" fmla="*/ 23 h 88"/>
              <a:gd name="T32" fmla="*/ 130 w 132"/>
              <a:gd name="T33"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88">
                <a:moveTo>
                  <a:pt x="130" y="9"/>
                </a:moveTo>
                <a:cubicBezTo>
                  <a:pt x="128" y="3"/>
                  <a:pt x="122" y="0"/>
                  <a:pt x="116" y="2"/>
                </a:cubicBezTo>
                <a:cubicBezTo>
                  <a:pt x="66" y="18"/>
                  <a:pt x="66" y="18"/>
                  <a:pt x="66" y="18"/>
                </a:cubicBezTo>
                <a:cubicBezTo>
                  <a:pt x="16" y="2"/>
                  <a:pt x="16" y="2"/>
                  <a:pt x="16" y="2"/>
                </a:cubicBezTo>
                <a:cubicBezTo>
                  <a:pt x="10" y="0"/>
                  <a:pt x="4" y="3"/>
                  <a:pt x="2" y="9"/>
                </a:cubicBezTo>
                <a:cubicBezTo>
                  <a:pt x="0" y="15"/>
                  <a:pt x="3" y="21"/>
                  <a:pt x="9" y="23"/>
                </a:cubicBezTo>
                <a:cubicBezTo>
                  <a:pt x="48" y="36"/>
                  <a:pt x="48" y="36"/>
                  <a:pt x="48" y="36"/>
                </a:cubicBezTo>
                <a:cubicBezTo>
                  <a:pt x="24" y="69"/>
                  <a:pt x="24" y="69"/>
                  <a:pt x="24" y="69"/>
                </a:cubicBezTo>
                <a:cubicBezTo>
                  <a:pt x="20" y="74"/>
                  <a:pt x="21" y="81"/>
                  <a:pt x="26" y="84"/>
                </a:cubicBezTo>
                <a:cubicBezTo>
                  <a:pt x="31" y="88"/>
                  <a:pt x="38" y="87"/>
                  <a:pt x="42" y="82"/>
                </a:cubicBezTo>
                <a:cubicBezTo>
                  <a:pt x="66" y="48"/>
                  <a:pt x="66" y="48"/>
                  <a:pt x="66" y="48"/>
                </a:cubicBezTo>
                <a:cubicBezTo>
                  <a:pt x="90" y="82"/>
                  <a:pt x="90" y="82"/>
                  <a:pt x="90" y="82"/>
                </a:cubicBezTo>
                <a:cubicBezTo>
                  <a:pt x="94" y="87"/>
                  <a:pt x="100" y="88"/>
                  <a:pt x="105" y="84"/>
                </a:cubicBezTo>
                <a:cubicBezTo>
                  <a:pt x="110" y="81"/>
                  <a:pt x="111" y="74"/>
                  <a:pt x="108" y="69"/>
                </a:cubicBezTo>
                <a:cubicBezTo>
                  <a:pt x="84" y="36"/>
                  <a:pt x="84" y="36"/>
                  <a:pt x="84" y="36"/>
                </a:cubicBezTo>
                <a:cubicBezTo>
                  <a:pt x="123" y="23"/>
                  <a:pt x="123" y="23"/>
                  <a:pt x="123" y="23"/>
                </a:cubicBezTo>
                <a:cubicBezTo>
                  <a:pt x="128" y="21"/>
                  <a:pt x="132" y="15"/>
                  <a:pt x="130" y="9"/>
                </a:cubicBezTo>
              </a:path>
            </a:pathLst>
          </a:custGeom>
          <a:solidFill>
            <a:srgbClr val="339A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0" name="Freeform 11"/>
          <p:cNvSpPr>
            <a:spLocks/>
          </p:cNvSpPr>
          <p:nvPr userDrawn="1"/>
        </p:nvSpPr>
        <p:spPr bwMode="auto">
          <a:xfrm>
            <a:off x="10795000" y="444500"/>
            <a:ext cx="47625" cy="69850"/>
          </a:xfrm>
          <a:custGeom>
            <a:avLst/>
            <a:gdLst>
              <a:gd name="T0" fmla="*/ 0 w 17"/>
              <a:gd name="T1" fmla="*/ 9 h 25"/>
              <a:gd name="T2" fmla="*/ 9 w 17"/>
              <a:gd name="T3" fmla="*/ 0 h 25"/>
              <a:gd name="T4" fmla="*/ 17 w 17"/>
              <a:gd name="T5" fmla="*/ 9 h 25"/>
              <a:gd name="T6" fmla="*/ 17 w 17"/>
              <a:gd name="T7" fmla="*/ 16 h 25"/>
              <a:gd name="T8" fmla="*/ 9 w 17"/>
              <a:gd name="T9" fmla="*/ 25 h 25"/>
              <a:gd name="T10" fmla="*/ 0 w 17"/>
              <a:gd name="T11" fmla="*/ 16 h 25"/>
              <a:gd name="T12" fmla="*/ 0 w 17"/>
              <a:gd name="T13" fmla="*/ 9 h 25"/>
            </a:gdLst>
            <a:ahLst/>
            <a:cxnLst>
              <a:cxn ang="0">
                <a:pos x="T0" y="T1"/>
              </a:cxn>
              <a:cxn ang="0">
                <a:pos x="T2" y="T3"/>
              </a:cxn>
              <a:cxn ang="0">
                <a:pos x="T4" y="T5"/>
              </a:cxn>
              <a:cxn ang="0">
                <a:pos x="T6" y="T7"/>
              </a:cxn>
              <a:cxn ang="0">
                <a:pos x="T8" y="T9"/>
              </a:cxn>
              <a:cxn ang="0">
                <a:pos x="T10" y="T11"/>
              </a:cxn>
              <a:cxn ang="0">
                <a:pos x="T12" y="T13"/>
              </a:cxn>
            </a:cxnLst>
            <a:rect l="0" t="0" r="r" b="b"/>
            <a:pathLst>
              <a:path w="17" h="25">
                <a:moveTo>
                  <a:pt x="0" y="9"/>
                </a:moveTo>
                <a:cubicBezTo>
                  <a:pt x="0" y="4"/>
                  <a:pt x="4" y="0"/>
                  <a:pt x="9" y="0"/>
                </a:cubicBezTo>
                <a:cubicBezTo>
                  <a:pt x="13" y="0"/>
                  <a:pt x="17" y="4"/>
                  <a:pt x="17" y="9"/>
                </a:cubicBezTo>
                <a:cubicBezTo>
                  <a:pt x="17" y="16"/>
                  <a:pt x="17" y="16"/>
                  <a:pt x="17" y="16"/>
                </a:cubicBezTo>
                <a:cubicBezTo>
                  <a:pt x="17" y="21"/>
                  <a:pt x="13" y="25"/>
                  <a:pt x="9" y="25"/>
                </a:cubicBezTo>
                <a:cubicBezTo>
                  <a:pt x="4" y="25"/>
                  <a:pt x="0" y="21"/>
                  <a:pt x="0" y="16"/>
                </a:cubicBezTo>
                <a:lnTo>
                  <a:pt x="0" y="9"/>
                </a:lnTo>
                <a:close/>
              </a:path>
            </a:pathLst>
          </a:custGeom>
          <a:solidFill>
            <a:srgbClr val="339A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1" name="Freeform 12"/>
          <p:cNvSpPr>
            <a:spLocks/>
          </p:cNvSpPr>
          <p:nvPr userDrawn="1"/>
        </p:nvSpPr>
        <p:spPr bwMode="auto">
          <a:xfrm>
            <a:off x="10680700" y="517525"/>
            <a:ext cx="280987" cy="185738"/>
          </a:xfrm>
          <a:custGeom>
            <a:avLst/>
            <a:gdLst>
              <a:gd name="T0" fmla="*/ 99 w 100"/>
              <a:gd name="T1" fmla="*/ 6 h 66"/>
              <a:gd name="T2" fmla="*/ 88 w 100"/>
              <a:gd name="T3" fmla="*/ 1 h 66"/>
              <a:gd name="T4" fmla="*/ 50 w 100"/>
              <a:gd name="T5" fmla="*/ 14 h 66"/>
              <a:gd name="T6" fmla="*/ 12 w 100"/>
              <a:gd name="T7" fmla="*/ 1 h 66"/>
              <a:gd name="T8" fmla="*/ 1 w 100"/>
              <a:gd name="T9" fmla="*/ 6 h 66"/>
              <a:gd name="T10" fmla="*/ 6 w 100"/>
              <a:gd name="T11" fmla="*/ 17 h 66"/>
              <a:gd name="T12" fmla="*/ 36 w 100"/>
              <a:gd name="T13" fmla="*/ 27 h 66"/>
              <a:gd name="T14" fmla="*/ 18 w 100"/>
              <a:gd name="T15" fmla="*/ 52 h 66"/>
              <a:gd name="T16" fmla="*/ 20 w 100"/>
              <a:gd name="T17" fmla="*/ 64 h 66"/>
              <a:gd name="T18" fmla="*/ 31 w 100"/>
              <a:gd name="T19" fmla="*/ 62 h 66"/>
              <a:gd name="T20" fmla="*/ 50 w 100"/>
              <a:gd name="T21" fmla="*/ 36 h 66"/>
              <a:gd name="T22" fmla="*/ 68 w 100"/>
              <a:gd name="T23" fmla="*/ 62 h 66"/>
              <a:gd name="T24" fmla="*/ 80 w 100"/>
              <a:gd name="T25" fmla="*/ 64 h 66"/>
              <a:gd name="T26" fmla="*/ 82 w 100"/>
              <a:gd name="T27" fmla="*/ 52 h 66"/>
              <a:gd name="T28" fmla="*/ 63 w 100"/>
              <a:gd name="T29" fmla="*/ 27 h 66"/>
              <a:gd name="T30" fmla="*/ 93 w 100"/>
              <a:gd name="T31" fmla="*/ 17 h 66"/>
              <a:gd name="T32" fmla="*/ 99 w 100"/>
              <a:gd name="T3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66">
                <a:moveTo>
                  <a:pt x="99" y="6"/>
                </a:moveTo>
                <a:cubicBezTo>
                  <a:pt x="97" y="2"/>
                  <a:pt x="92" y="0"/>
                  <a:pt x="88" y="1"/>
                </a:cubicBezTo>
                <a:cubicBezTo>
                  <a:pt x="50" y="14"/>
                  <a:pt x="50" y="14"/>
                  <a:pt x="50" y="14"/>
                </a:cubicBezTo>
                <a:cubicBezTo>
                  <a:pt x="12" y="1"/>
                  <a:pt x="12" y="1"/>
                  <a:pt x="12" y="1"/>
                </a:cubicBezTo>
                <a:cubicBezTo>
                  <a:pt x="7" y="0"/>
                  <a:pt x="2" y="2"/>
                  <a:pt x="1" y="6"/>
                </a:cubicBezTo>
                <a:cubicBezTo>
                  <a:pt x="0" y="11"/>
                  <a:pt x="2" y="15"/>
                  <a:pt x="6" y="17"/>
                </a:cubicBezTo>
                <a:cubicBezTo>
                  <a:pt x="36" y="27"/>
                  <a:pt x="36" y="27"/>
                  <a:pt x="36" y="27"/>
                </a:cubicBezTo>
                <a:cubicBezTo>
                  <a:pt x="18" y="52"/>
                  <a:pt x="18" y="52"/>
                  <a:pt x="18" y="52"/>
                </a:cubicBezTo>
                <a:cubicBezTo>
                  <a:pt x="15" y="56"/>
                  <a:pt x="16" y="61"/>
                  <a:pt x="20" y="64"/>
                </a:cubicBezTo>
                <a:cubicBezTo>
                  <a:pt x="23" y="66"/>
                  <a:pt x="29" y="66"/>
                  <a:pt x="31" y="62"/>
                </a:cubicBezTo>
                <a:cubicBezTo>
                  <a:pt x="50" y="36"/>
                  <a:pt x="50" y="36"/>
                  <a:pt x="50" y="36"/>
                </a:cubicBezTo>
                <a:cubicBezTo>
                  <a:pt x="68" y="62"/>
                  <a:pt x="68" y="62"/>
                  <a:pt x="68" y="62"/>
                </a:cubicBezTo>
                <a:cubicBezTo>
                  <a:pt x="71" y="66"/>
                  <a:pt x="76" y="66"/>
                  <a:pt x="80" y="64"/>
                </a:cubicBezTo>
                <a:cubicBezTo>
                  <a:pt x="84" y="61"/>
                  <a:pt x="84" y="56"/>
                  <a:pt x="82" y="52"/>
                </a:cubicBezTo>
                <a:cubicBezTo>
                  <a:pt x="63" y="27"/>
                  <a:pt x="63" y="27"/>
                  <a:pt x="63" y="27"/>
                </a:cubicBezTo>
                <a:cubicBezTo>
                  <a:pt x="93" y="17"/>
                  <a:pt x="93" y="17"/>
                  <a:pt x="93" y="17"/>
                </a:cubicBezTo>
                <a:cubicBezTo>
                  <a:pt x="98" y="15"/>
                  <a:pt x="100" y="11"/>
                  <a:pt x="99" y="6"/>
                </a:cubicBezTo>
              </a:path>
            </a:pathLst>
          </a:custGeom>
          <a:solidFill>
            <a:srgbClr val="339A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2" name="Freeform 13"/>
          <p:cNvSpPr>
            <a:spLocks/>
          </p:cNvSpPr>
          <p:nvPr userDrawn="1"/>
        </p:nvSpPr>
        <p:spPr bwMode="auto">
          <a:xfrm>
            <a:off x="10571163" y="511175"/>
            <a:ext cx="36512" cy="47625"/>
          </a:xfrm>
          <a:custGeom>
            <a:avLst/>
            <a:gdLst>
              <a:gd name="T0" fmla="*/ 0 w 13"/>
              <a:gd name="T1" fmla="*/ 6 h 17"/>
              <a:gd name="T2" fmla="*/ 7 w 13"/>
              <a:gd name="T3" fmla="*/ 0 h 17"/>
              <a:gd name="T4" fmla="*/ 13 w 13"/>
              <a:gd name="T5" fmla="*/ 6 h 17"/>
              <a:gd name="T6" fmla="*/ 13 w 13"/>
              <a:gd name="T7" fmla="*/ 11 h 17"/>
              <a:gd name="T8" fmla="*/ 7 w 13"/>
              <a:gd name="T9" fmla="*/ 17 h 17"/>
              <a:gd name="T10" fmla="*/ 0 w 13"/>
              <a:gd name="T11" fmla="*/ 11 h 17"/>
              <a:gd name="T12" fmla="*/ 0 w 13"/>
              <a:gd name="T13" fmla="*/ 6 h 17"/>
            </a:gdLst>
            <a:ahLst/>
            <a:cxnLst>
              <a:cxn ang="0">
                <a:pos x="T0" y="T1"/>
              </a:cxn>
              <a:cxn ang="0">
                <a:pos x="T2" y="T3"/>
              </a:cxn>
              <a:cxn ang="0">
                <a:pos x="T4" y="T5"/>
              </a:cxn>
              <a:cxn ang="0">
                <a:pos x="T6" y="T7"/>
              </a:cxn>
              <a:cxn ang="0">
                <a:pos x="T8" y="T9"/>
              </a:cxn>
              <a:cxn ang="0">
                <a:pos x="T10" y="T11"/>
              </a:cxn>
              <a:cxn ang="0">
                <a:pos x="T12" y="T13"/>
              </a:cxn>
            </a:cxnLst>
            <a:rect l="0" t="0" r="r" b="b"/>
            <a:pathLst>
              <a:path w="13" h="17">
                <a:moveTo>
                  <a:pt x="0" y="6"/>
                </a:moveTo>
                <a:cubicBezTo>
                  <a:pt x="0" y="2"/>
                  <a:pt x="3" y="0"/>
                  <a:pt x="7" y="0"/>
                </a:cubicBezTo>
                <a:cubicBezTo>
                  <a:pt x="10" y="0"/>
                  <a:pt x="13" y="2"/>
                  <a:pt x="13" y="6"/>
                </a:cubicBezTo>
                <a:cubicBezTo>
                  <a:pt x="13" y="11"/>
                  <a:pt x="13" y="11"/>
                  <a:pt x="13" y="11"/>
                </a:cubicBezTo>
                <a:cubicBezTo>
                  <a:pt x="13" y="15"/>
                  <a:pt x="10" y="17"/>
                  <a:pt x="7" y="17"/>
                </a:cubicBezTo>
                <a:cubicBezTo>
                  <a:pt x="3" y="17"/>
                  <a:pt x="0" y="15"/>
                  <a:pt x="0" y="11"/>
                </a:cubicBezTo>
                <a:lnTo>
                  <a:pt x="0" y="6"/>
                </a:lnTo>
                <a:close/>
              </a:path>
            </a:pathLst>
          </a:custGeom>
          <a:solidFill>
            <a:srgbClr val="339A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3" name="Freeform 14"/>
          <p:cNvSpPr>
            <a:spLocks/>
          </p:cNvSpPr>
          <p:nvPr userDrawn="1"/>
        </p:nvSpPr>
        <p:spPr bwMode="auto">
          <a:xfrm>
            <a:off x="10483850" y="561975"/>
            <a:ext cx="211137" cy="141288"/>
          </a:xfrm>
          <a:custGeom>
            <a:avLst/>
            <a:gdLst>
              <a:gd name="T0" fmla="*/ 74 w 75"/>
              <a:gd name="T1" fmla="*/ 5 h 50"/>
              <a:gd name="T2" fmla="*/ 66 w 75"/>
              <a:gd name="T3" fmla="*/ 1 h 50"/>
              <a:gd name="T4" fmla="*/ 38 w 75"/>
              <a:gd name="T5" fmla="*/ 11 h 50"/>
              <a:gd name="T6" fmla="*/ 9 w 75"/>
              <a:gd name="T7" fmla="*/ 1 h 50"/>
              <a:gd name="T8" fmla="*/ 1 w 75"/>
              <a:gd name="T9" fmla="*/ 5 h 50"/>
              <a:gd name="T10" fmla="*/ 5 w 75"/>
              <a:gd name="T11" fmla="*/ 13 h 50"/>
              <a:gd name="T12" fmla="*/ 28 w 75"/>
              <a:gd name="T13" fmla="*/ 20 h 50"/>
              <a:gd name="T14" fmla="*/ 14 w 75"/>
              <a:gd name="T15" fmla="*/ 39 h 50"/>
              <a:gd name="T16" fmla="*/ 15 w 75"/>
              <a:gd name="T17" fmla="*/ 48 h 50"/>
              <a:gd name="T18" fmla="*/ 24 w 75"/>
              <a:gd name="T19" fmla="*/ 47 h 50"/>
              <a:gd name="T20" fmla="*/ 38 w 75"/>
              <a:gd name="T21" fmla="*/ 28 h 50"/>
              <a:gd name="T22" fmla="*/ 51 w 75"/>
              <a:gd name="T23" fmla="*/ 47 h 50"/>
              <a:gd name="T24" fmla="*/ 60 w 75"/>
              <a:gd name="T25" fmla="*/ 48 h 50"/>
              <a:gd name="T26" fmla="*/ 62 w 75"/>
              <a:gd name="T27" fmla="*/ 39 h 50"/>
              <a:gd name="T28" fmla="*/ 48 w 75"/>
              <a:gd name="T29" fmla="*/ 20 h 50"/>
              <a:gd name="T30" fmla="*/ 70 w 75"/>
              <a:gd name="T31" fmla="*/ 13 h 50"/>
              <a:gd name="T32" fmla="*/ 74 w 75"/>
              <a:gd name="T33"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50">
                <a:moveTo>
                  <a:pt x="74" y="5"/>
                </a:moveTo>
                <a:cubicBezTo>
                  <a:pt x="73" y="2"/>
                  <a:pt x="69" y="0"/>
                  <a:pt x="66" y="1"/>
                </a:cubicBezTo>
                <a:cubicBezTo>
                  <a:pt x="38" y="11"/>
                  <a:pt x="38" y="11"/>
                  <a:pt x="38" y="11"/>
                </a:cubicBezTo>
                <a:cubicBezTo>
                  <a:pt x="9" y="1"/>
                  <a:pt x="9" y="1"/>
                  <a:pt x="9" y="1"/>
                </a:cubicBezTo>
                <a:cubicBezTo>
                  <a:pt x="6" y="0"/>
                  <a:pt x="2" y="2"/>
                  <a:pt x="1" y="5"/>
                </a:cubicBezTo>
                <a:cubicBezTo>
                  <a:pt x="0" y="9"/>
                  <a:pt x="2" y="12"/>
                  <a:pt x="5" y="13"/>
                </a:cubicBezTo>
                <a:cubicBezTo>
                  <a:pt x="28" y="20"/>
                  <a:pt x="28" y="20"/>
                  <a:pt x="28" y="20"/>
                </a:cubicBezTo>
                <a:cubicBezTo>
                  <a:pt x="14" y="39"/>
                  <a:pt x="14" y="39"/>
                  <a:pt x="14" y="39"/>
                </a:cubicBezTo>
                <a:cubicBezTo>
                  <a:pt x="12" y="42"/>
                  <a:pt x="12" y="46"/>
                  <a:pt x="15" y="48"/>
                </a:cubicBezTo>
                <a:cubicBezTo>
                  <a:pt x="18" y="50"/>
                  <a:pt x="22" y="49"/>
                  <a:pt x="24" y="47"/>
                </a:cubicBezTo>
                <a:cubicBezTo>
                  <a:pt x="38" y="28"/>
                  <a:pt x="38" y="28"/>
                  <a:pt x="38" y="28"/>
                </a:cubicBezTo>
                <a:cubicBezTo>
                  <a:pt x="51" y="47"/>
                  <a:pt x="51" y="47"/>
                  <a:pt x="51" y="47"/>
                </a:cubicBezTo>
                <a:cubicBezTo>
                  <a:pt x="53" y="49"/>
                  <a:pt x="57" y="50"/>
                  <a:pt x="60" y="48"/>
                </a:cubicBezTo>
                <a:cubicBezTo>
                  <a:pt x="63" y="46"/>
                  <a:pt x="64" y="42"/>
                  <a:pt x="62" y="39"/>
                </a:cubicBezTo>
                <a:cubicBezTo>
                  <a:pt x="48" y="20"/>
                  <a:pt x="48" y="20"/>
                  <a:pt x="48" y="20"/>
                </a:cubicBezTo>
                <a:cubicBezTo>
                  <a:pt x="70" y="13"/>
                  <a:pt x="70" y="13"/>
                  <a:pt x="70" y="13"/>
                </a:cubicBezTo>
                <a:cubicBezTo>
                  <a:pt x="73" y="12"/>
                  <a:pt x="75" y="9"/>
                  <a:pt x="74" y="5"/>
                </a:cubicBezTo>
              </a:path>
            </a:pathLst>
          </a:custGeom>
          <a:solidFill>
            <a:srgbClr val="339A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4" name="Freeform 15"/>
          <p:cNvSpPr>
            <a:spLocks noEditPoints="1"/>
          </p:cNvSpPr>
          <p:nvPr userDrawn="1"/>
        </p:nvSpPr>
        <p:spPr bwMode="auto">
          <a:xfrm>
            <a:off x="9939338" y="682625"/>
            <a:ext cx="325437" cy="396875"/>
          </a:xfrm>
          <a:custGeom>
            <a:avLst/>
            <a:gdLst>
              <a:gd name="T0" fmla="*/ 58 w 116"/>
              <a:gd name="T1" fmla="*/ 141 h 141"/>
              <a:gd name="T2" fmla="*/ 0 w 116"/>
              <a:gd name="T3" fmla="*/ 71 h 141"/>
              <a:gd name="T4" fmla="*/ 58 w 116"/>
              <a:gd name="T5" fmla="*/ 0 h 141"/>
              <a:gd name="T6" fmla="*/ 116 w 116"/>
              <a:gd name="T7" fmla="*/ 71 h 141"/>
              <a:gd name="T8" fmla="*/ 58 w 116"/>
              <a:gd name="T9" fmla="*/ 141 h 141"/>
              <a:gd name="T10" fmla="*/ 59 w 116"/>
              <a:gd name="T11" fmla="*/ 16 h 141"/>
              <a:gd name="T12" fmla="*/ 22 w 116"/>
              <a:gd name="T13" fmla="*/ 71 h 141"/>
              <a:gd name="T14" fmla="*/ 32 w 116"/>
              <a:gd name="T15" fmla="*/ 113 h 141"/>
              <a:gd name="T16" fmla="*/ 58 w 116"/>
              <a:gd name="T17" fmla="*/ 125 h 141"/>
              <a:gd name="T18" fmla="*/ 94 w 116"/>
              <a:gd name="T19" fmla="*/ 71 h 141"/>
              <a:gd name="T20" fmla="*/ 59 w 116"/>
              <a:gd name="T21" fmla="*/ 1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41">
                <a:moveTo>
                  <a:pt x="58" y="141"/>
                </a:moveTo>
                <a:cubicBezTo>
                  <a:pt x="20" y="141"/>
                  <a:pt x="0" y="116"/>
                  <a:pt x="0" y="71"/>
                </a:cubicBezTo>
                <a:cubicBezTo>
                  <a:pt x="0" y="25"/>
                  <a:pt x="21" y="0"/>
                  <a:pt x="58" y="0"/>
                </a:cubicBezTo>
                <a:cubicBezTo>
                  <a:pt x="96" y="0"/>
                  <a:pt x="116" y="25"/>
                  <a:pt x="116" y="71"/>
                </a:cubicBezTo>
                <a:cubicBezTo>
                  <a:pt x="116" y="116"/>
                  <a:pt x="96" y="141"/>
                  <a:pt x="58" y="141"/>
                </a:cubicBezTo>
                <a:moveTo>
                  <a:pt x="59" y="16"/>
                </a:moveTo>
                <a:cubicBezTo>
                  <a:pt x="35" y="16"/>
                  <a:pt x="22" y="35"/>
                  <a:pt x="22" y="71"/>
                </a:cubicBezTo>
                <a:cubicBezTo>
                  <a:pt x="22" y="88"/>
                  <a:pt x="26" y="104"/>
                  <a:pt x="32" y="113"/>
                </a:cubicBezTo>
                <a:cubicBezTo>
                  <a:pt x="37" y="121"/>
                  <a:pt x="47" y="125"/>
                  <a:pt x="58" y="125"/>
                </a:cubicBezTo>
                <a:cubicBezTo>
                  <a:pt x="82" y="125"/>
                  <a:pt x="94" y="107"/>
                  <a:pt x="94" y="71"/>
                </a:cubicBezTo>
                <a:cubicBezTo>
                  <a:pt x="94" y="34"/>
                  <a:pt x="82" y="16"/>
                  <a:pt x="59" y="16"/>
                </a:cubicBezTo>
              </a:path>
            </a:pathLst>
          </a:custGeom>
          <a:solidFill>
            <a:srgbClr val="0F2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5" name="Freeform 16"/>
          <p:cNvSpPr>
            <a:spLocks/>
          </p:cNvSpPr>
          <p:nvPr userDrawn="1"/>
        </p:nvSpPr>
        <p:spPr bwMode="auto">
          <a:xfrm>
            <a:off x="10287000" y="655638"/>
            <a:ext cx="193675" cy="417513"/>
          </a:xfrm>
          <a:custGeom>
            <a:avLst/>
            <a:gdLst>
              <a:gd name="T0" fmla="*/ 67 w 69"/>
              <a:gd name="T1" fmla="*/ 16 h 149"/>
              <a:gd name="T2" fmla="*/ 50 w 69"/>
              <a:gd name="T3" fmla="*/ 15 h 149"/>
              <a:gd name="T4" fmla="*/ 37 w 69"/>
              <a:gd name="T5" fmla="*/ 33 h 149"/>
              <a:gd name="T6" fmla="*/ 37 w 69"/>
              <a:gd name="T7" fmla="*/ 52 h 149"/>
              <a:gd name="T8" fmla="*/ 64 w 69"/>
              <a:gd name="T9" fmla="*/ 52 h 149"/>
              <a:gd name="T10" fmla="*/ 64 w 69"/>
              <a:gd name="T11" fmla="*/ 65 h 149"/>
              <a:gd name="T12" fmla="*/ 37 w 69"/>
              <a:gd name="T13" fmla="*/ 65 h 149"/>
              <a:gd name="T14" fmla="*/ 37 w 69"/>
              <a:gd name="T15" fmla="*/ 149 h 149"/>
              <a:gd name="T16" fmla="*/ 17 w 69"/>
              <a:gd name="T17" fmla="*/ 149 h 149"/>
              <a:gd name="T18" fmla="*/ 17 w 69"/>
              <a:gd name="T19" fmla="*/ 65 h 149"/>
              <a:gd name="T20" fmla="*/ 0 w 69"/>
              <a:gd name="T21" fmla="*/ 65 h 149"/>
              <a:gd name="T22" fmla="*/ 0 w 69"/>
              <a:gd name="T23" fmla="*/ 54 h 149"/>
              <a:gd name="T24" fmla="*/ 17 w 69"/>
              <a:gd name="T25" fmla="*/ 51 h 149"/>
              <a:gd name="T26" fmla="*/ 17 w 69"/>
              <a:gd name="T27" fmla="*/ 35 h 149"/>
              <a:gd name="T28" fmla="*/ 22 w 69"/>
              <a:gd name="T29" fmla="*/ 11 h 149"/>
              <a:gd name="T30" fmla="*/ 44 w 69"/>
              <a:gd name="T31" fmla="*/ 0 h 149"/>
              <a:gd name="T32" fmla="*/ 69 w 69"/>
              <a:gd name="T33" fmla="*/ 4 h 149"/>
              <a:gd name="T34" fmla="*/ 67 w 69"/>
              <a:gd name="T35" fmla="*/ 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149">
                <a:moveTo>
                  <a:pt x="67" y="16"/>
                </a:moveTo>
                <a:cubicBezTo>
                  <a:pt x="65" y="16"/>
                  <a:pt x="59" y="15"/>
                  <a:pt x="50" y="15"/>
                </a:cubicBezTo>
                <a:cubicBezTo>
                  <a:pt x="40" y="15"/>
                  <a:pt x="37" y="19"/>
                  <a:pt x="37" y="33"/>
                </a:cubicBezTo>
                <a:cubicBezTo>
                  <a:pt x="37" y="52"/>
                  <a:pt x="37" y="52"/>
                  <a:pt x="37" y="52"/>
                </a:cubicBezTo>
                <a:cubicBezTo>
                  <a:pt x="64" y="52"/>
                  <a:pt x="64" y="52"/>
                  <a:pt x="64" y="52"/>
                </a:cubicBezTo>
                <a:cubicBezTo>
                  <a:pt x="64" y="65"/>
                  <a:pt x="64" y="65"/>
                  <a:pt x="64" y="65"/>
                </a:cubicBezTo>
                <a:cubicBezTo>
                  <a:pt x="37" y="65"/>
                  <a:pt x="37" y="65"/>
                  <a:pt x="37" y="65"/>
                </a:cubicBezTo>
                <a:cubicBezTo>
                  <a:pt x="37" y="149"/>
                  <a:pt x="37" y="149"/>
                  <a:pt x="37" y="149"/>
                </a:cubicBezTo>
                <a:cubicBezTo>
                  <a:pt x="17" y="149"/>
                  <a:pt x="17" y="149"/>
                  <a:pt x="17" y="149"/>
                </a:cubicBezTo>
                <a:cubicBezTo>
                  <a:pt x="17" y="65"/>
                  <a:pt x="17" y="65"/>
                  <a:pt x="17" y="65"/>
                </a:cubicBezTo>
                <a:cubicBezTo>
                  <a:pt x="0" y="65"/>
                  <a:pt x="0" y="65"/>
                  <a:pt x="0" y="65"/>
                </a:cubicBezTo>
                <a:cubicBezTo>
                  <a:pt x="0" y="54"/>
                  <a:pt x="0" y="54"/>
                  <a:pt x="0" y="54"/>
                </a:cubicBezTo>
                <a:cubicBezTo>
                  <a:pt x="17" y="51"/>
                  <a:pt x="17" y="51"/>
                  <a:pt x="17" y="51"/>
                </a:cubicBezTo>
                <a:cubicBezTo>
                  <a:pt x="17" y="35"/>
                  <a:pt x="17" y="35"/>
                  <a:pt x="17" y="35"/>
                </a:cubicBezTo>
                <a:cubicBezTo>
                  <a:pt x="17" y="21"/>
                  <a:pt x="18" y="16"/>
                  <a:pt x="22" y="11"/>
                </a:cubicBezTo>
                <a:cubicBezTo>
                  <a:pt x="27" y="4"/>
                  <a:pt x="34" y="0"/>
                  <a:pt x="44" y="0"/>
                </a:cubicBezTo>
                <a:cubicBezTo>
                  <a:pt x="54" y="0"/>
                  <a:pt x="66" y="3"/>
                  <a:pt x="69" y="4"/>
                </a:cubicBezTo>
                <a:lnTo>
                  <a:pt x="67" y="16"/>
                </a:lnTo>
                <a:close/>
              </a:path>
            </a:pathLst>
          </a:custGeom>
          <a:solidFill>
            <a:srgbClr val="0F2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6" name="Freeform 17"/>
          <p:cNvSpPr>
            <a:spLocks/>
          </p:cNvSpPr>
          <p:nvPr userDrawn="1"/>
        </p:nvSpPr>
        <p:spPr bwMode="auto">
          <a:xfrm>
            <a:off x="10479088" y="795338"/>
            <a:ext cx="190500" cy="284163"/>
          </a:xfrm>
          <a:custGeom>
            <a:avLst/>
            <a:gdLst>
              <a:gd name="T0" fmla="*/ 31 w 68"/>
              <a:gd name="T1" fmla="*/ 101 h 101"/>
              <a:gd name="T2" fmla="*/ 0 w 68"/>
              <a:gd name="T3" fmla="*/ 96 h 101"/>
              <a:gd name="T4" fmla="*/ 3 w 68"/>
              <a:gd name="T5" fmla="*/ 83 h 101"/>
              <a:gd name="T6" fmla="*/ 27 w 68"/>
              <a:gd name="T7" fmla="*/ 86 h 101"/>
              <a:gd name="T8" fmla="*/ 48 w 68"/>
              <a:gd name="T9" fmla="*/ 72 h 101"/>
              <a:gd name="T10" fmla="*/ 31 w 68"/>
              <a:gd name="T11" fmla="*/ 57 h 101"/>
              <a:gd name="T12" fmla="*/ 1 w 68"/>
              <a:gd name="T13" fmla="*/ 29 h 101"/>
              <a:gd name="T14" fmla="*/ 35 w 68"/>
              <a:gd name="T15" fmla="*/ 0 h 101"/>
              <a:gd name="T16" fmla="*/ 63 w 68"/>
              <a:gd name="T17" fmla="*/ 5 h 101"/>
              <a:gd name="T18" fmla="*/ 60 w 68"/>
              <a:gd name="T19" fmla="*/ 17 h 101"/>
              <a:gd name="T20" fmla="*/ 37 w 68"/>
              <a:gd name="T21" fmla="*/ 14 h 101"/>
              <a:gd name="T22" fmla="*/ 21 w 68"/>
              <a:gd name="T23" fmla="*/ 27 h 101"/>
              <a:gd name="T24" fmla="*/ 68 w 68"/>
              <a:gd name="T25" fmla="*/ 69 h 101"/>
              <a:gd name="T26" fmla="*/ 31 w 68"/>
              <a:gd name="T2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01">
                <a:moveTo>
                  <a:pt x="31" y="101"/>
                </a:moveTo>
                <a:cubicBezTo>
                  <a:pt x="21" y="101"/>
                  <a:pt x="12" y="99"/>
                  <a:pt x="0" y="96"/>
                </a:cubicBezTo>
                <a:cubicBezTo>
                  <a:pt x="3" y="83"/>
                  <a:pt x="3" y="83"/>
                  <a:pt x="3" y="83"/>
                </a:cubicBezTo>
                <a:cubicBezTo>
                  <a:pt x="13" y="85"/>
                  <a:pt x="20" y="86"/>
                  <a:pt x="27" y="86"/>
                </a:cubicBezTo>
                <a:cubicBezTo>
                  <a:pt x="41" y="86"/>
                  <a:pt x="48" y="81"/>
                  <a:pt x="48" y="72"/>
                </a:cubicBezTo>
                <a:cubicBezTo>
                  <a:pt x="48" y="64"/>
                  <a:pt x="45" y="61"/>
                  <a:pt x="31" y="57"/>
                </a:cubicBezTo>
                <a:cubicBezTo>
                  <a:pt x="14" y="52"/>
                  <a:pt x="1" y="47"/>
                  <a:pt x="1" y="29"/>
                </a:cubicBezTo>
                <a:cubicBezTo>
                  <a:pt x="1" y="10"/>
                  <a:pt x="14" y="0"/>
                  <a:pt x="35" y="0"/>
                </a:cubicBezTo>
                <a:cubicBezTo>
                  <a:pt x="43" y="0"/>
                  <a:pt x="52" y="1"/>
                  <a:pt x="63" y="5"/>
                </a:cubicBezTo>
                <a:cubicBezTo>
                  <a:pt x="60" y="17"/>
                  <a:pt x="60" y="17"/>
                  <a:pt x="60" y="17"/>
                </a:cubicBezTo>
                <a:cubicBezTo>
                  <a:pt x="53" y="16"/>
                  <a:pt x="45" y="14"/>
                  <a:pt x="37" y="14"/>
                </a:cubicBezTo>
                <a:cubicBezTo>
                  <a:pt x="27" y="14"/>
                  <a:pt x="21" y="19"/>
                  <a:pt x="21" y="27"/>
                </a:cubicBezTo>
                <a:cubicBezTo>
                  <a:pt x="21" y="47"/>
                  <a:pt x="68" y="34"/>
                  <a:pt x="68" y="69"/>
                </a:cubicBezTo>
                <a:cubicBezTo>
                  <a:pt x="68" y="89"/>
                  <a:pt x="54" y="101"/>
                  <a:pt x="31" y="101"/>
                </a:cubicBezTo>
              </a:path>
            </a:pathLst>
          </a:custGeom>
          <a:solidFill>
            <a:srgbClr val="0F2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7" name="Freeform 18"/>
          <p:cNvSpPr>
            <a:spLocks/>
          </p:cNvSpPr>
          <p:nvPr userDrawn="1"/>
        </p:nvSpPr>
        <p:spPr bwMode="auto">
          <a:xfrm>
            <a:off x="10672763" y="725488"/>
            <a:ext cx="187325" cy="354013"/>
          </a:xfrm>
          <a:custGeom>
            <a:avLst/>
            <a:gdLst>
              <a:gd name="T0" fmla="*/ 39 w 67"/>
              <a:gd name="T1" fmla="*/ 126 h 126"/>
              <a:gd name="T2" fmla="*/ 19 w 67"/>
              <a:gd name="T3" fmla="*/ 115 h 126"/>
              <a:gd name="T4" fmla="*/ 17 w 67"/>
              <a:gd name="T5" fmla="*/ 93 h 126"/>
              <a:gd name="T6" fmla="*/ 17 w 67"/>
              <a:gd name="T7" fmla="*/ 40 h 126"/>
              <a:gd name="T8" fmla="*/ 0 w 67"/>
              <a:gd name="T9" fmla="*/ 40 h 126"/>
              <a:gd name="T10" fmla="*/ 0 w 67"/>
              <a:gd name="T11" fmla="*/ 29 h 126"/>
              <a:gd name="T12" fmla="*/ 17 w 67"/>
              <a:gd name="T13" fmla="*/ 27 h 126"/>
              <a:gd name="T14" fmla="*/ 17 w 67"/>
              <a:gd name="T15" fmla="*/ 0 h 126"/>
              <a:gd name="T16" fmla="*/ 37 w 67"/>
              <a:gd name="T17" fmla="*/ 0 h 126"/>
              <a:gd name="T18" fmla="*/ 37 w 67"/>
              <a:gd name="T19" fmla="*/ 27 h 126"/>
              <a:gd name="T20" fmla="*/ 63 w 67"/>
              <a:gd name="T21" fmla="*/ 27 h 126"/>
              <a:gd name="T22" fmla="*/ 63 w 67"/>
              <a:gd name="T23" fmla="*/ 40 h 126"/>
              <a:gd name="T24" fmla="*/ 37 w 67"/>
              <a:gd name="T25" fmla="*/ 40 h 126"/>
              <a:gd name="T26" fmla="*/ 37 w 67"/>
              <a:gd name="T27" fmla="*/ 87 h 126"/>
              <a:gd name="T28" fmla="*/ 38 w 67"/>
              <a:gd name="T29" fmla="*/ 106 h 126"/>
              <a:gd name="T30" fmla="*/ 47 w 67"/>
              <a:gd name="T31" fmla="*/ 110 h 126"/>
              <a:gd name="T32" fmla="*/ 64 w 67"/>
              <a:gd name="T33" fmla="*/ 107 h 126"/>
              <a:gd name="T34" fmla="*/ 67 w 67"/>
              <a:gd name="T35" fmla="*/ 120 h 126"/>
              <a:gd name="T36" fmla="*/ 39 w 67"/>
              <a:gd name="T3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126">
                <a:moveTo>
                  <a:pt x="39" y="126"/>
                </a:moveTo>
                <a:cubicBezTo>
                  <a:pt x="30" y="126"/>
                  <a:pt x="23" y="122"/>
                  <a:pt x="19" y="115"/>
                </a:cubicBezTo>
                <a:cubicBezTo>
                  <a:pt x="17" y="111"/>
                  <a:pt x="17" y="106"/>
                  <a:pt x="17" y="93"/>
                </a:cubicBezTo>
                <a:cubicBezTo>
                  <a:pt x="17" y="40"/>
                  <a:pt x="17" y="40"/>
                  <a:pt x="17" y="40"/>
                </a:cubicBezTo>
                <a:cubicBezTo>
                  <a:pt x="0" y="40"/>
                  <a:pt x="0" y="40"/>
                  <a:pt x="0" y="40"/>
                </a:cubicBezTo>
                <a:cubicBezTo>
                  <a:pt x="0" y="29"/>
                  <a:pt x="0" y="29"/>
                  <a:pt x="0" y="29"/>
                </a:cubicBezTo>
                <a:cubicBezTo>
                  <a:pt x="17" y="27"/>
                  <a:pt x="17" y="27"/>
                  <a:pt x="17" y="27"/>
                </a:cubicBezTo>
                <a:cubicBezTo>
                  <a:pt x="17" y="0"/>
                  <a:pt x="17" y="0"/>
                  <a:pt x="17" y="0"/>
                </a:cubicBezTo>
                <a:cubicBezTo>
                  <a:pt x="37" y="0"/>
                  <a:pt x="37" y="0"/>
                  <a:pt x="37" y="0"/>
                </a:cubicBezTo>
                <a:cubicBezTo>
                  <a:pt x="37" y="27"/>
                  <a:pt x="37" y="27"/>
                  <a:pt x="37" y="27"/>
                </a:cubicBezTo>
                <a:cubicBezTo>
                  <a:pt x="63" y="27"/>
                  <a:pt x="63" y="27"/>
                  <a:pt x="63" y="27"/>
                </a:cubicBezTo>
                <a:cubicBezTo>
                  <a:pt x="63" y="40"/>
                  <a:pt x="63" y="40"/>
                  <a:pt x="63" y="40"/>
                </a:cubicBezTo>
                <a:cubicBezTo>
                  <a:pt x="37" y="40"/>
                  <a:pt x="37" y="40"/>
                  <a:pt x="37" y="40"/>
                </a:cubicBezTo>
                <a:cubicBezTo>
                  <a:pt x="37" y="87"/>
                  <a:pt x="37" y="87"/>
                  <a:pt x="37" y="87"/>
                </a:cubicBezTo>
                <a:cubicBezTo>
                  <a:pt x="37" y="104"/>
                  <a:pt x="37" y="104"/>
                  <a:pt x="38" y="106"/>
                </a:cubicBezTo>
                <a:cubicBezTo>
                  <a:pt x="40" y="109"/>
                  <a:pt x="43" y="110"/>
                  <a:pt x="47" y="110"/>
                </a:cubicBezTo>
                <a:cubicBezTo>
                  <a:pt x="52" y="110"/>
                  <a:pt x="56" y="109"/>
                  <a:pt x="64" y="107"/>
                </a:cubicBezTo>
                <a:cubicBezTo>
                  <a:pt x="67" y="120"/>
                  <a:pt x="67" y="120"/>
                  <a:pt x="67" y="120"/>
                </a:cubicBezTo>
                <a:cubicBezTo>
                  <a:pt x="55" y="124"/>
                  <a:pt x="47" y="126"/>
                  <a:pt x="39" y="126"/>
                </a:cubicBezTo>
              </a:path>
            </a:pathLst>
          </a:custGeom>
          <a:solidFill>
            <a:srgbClr val="0F2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8" name="Freeform 19"/>
          <p:cNvSpPr>
            <a:spLocks noEditPoints="1"/>
          </p:cNvSpPr>
          <p:nvPr userDrawn="1"/>
        </p:nvSpPr>
        <p:spPr bwMode="auto">
          <a:xfrm>
            <a:off x="10863263" y="792163"/>
            <a:ext cx="230187" cy="287338"/>
          </a:xfrm>
          <a:custGeom>
            <a:avLst/>
            <a:gdLst>
              <a:gd name="T0" fmla="*/ 21 w 82"/>
              <a:gd name="T1" fmla="*/ 54 h 102"/>
              <a:gd name="T2" fmla="*/ 21 w 82"/>
              <a:gd name="T3" fmla="*/ 57 h 102"/>
              <a:gd name="T4" fmla="*/ 45 w 82"/>
              <a:gd name="T5" fmla="*/ 85 h 102"/>
              <a:gd name="T6" fmla="*/ 77 w 82"/>
              <a:gd name="T7" fmla="*/ 79 h 102"/>
              <a:gd name="T8" fmla="*/ 81 w 82"/>
              <a:gd name="T9" fmla="*/ 90 h 102"/>
              <a:gd name="T10" fmla="*/ 39 w 82"/>
              <a:gd name="T11" fmla="*/ 102 h 102"/>
              <a:gd name="T12" fmla="*/ 0 w 82"/>
              <a:gd name="T13" fmla="*/ 54 h 102"/>
              <a:gd name="T14" fmla="*/ 43 w 82"/>
              <a:gd name="T15" fmla="*/ 0 h 102"/>
              <a:gd name="T16" fmla="*/ 82 w 82"/>
              <a:gd name="T17" fmla="*/ 49 h 102"/>
              <a:gd name="T18" fmla="*/ 82 w 82"/>
              <a:gd name="T19" fmla="*/ 54 h 102"/>
              <a:gd name="T20" fmla="*/ 21 w 82"/>
              <a:gd name="T21" fmla="*/ 54 h 102"/>
              <a:gd name="T22" fmla="*/ 44 w 82"/>
              <a:gd name="T23" fmla="*/ 14 h 102"/>
              <a:gd name="T24" fmla="*/ 22 w 82"/>
              <a:gd name="T25" fmla="*/ 42 h 102"/>
              <a:gd name="T26" fmla="*/ 63 w 82"/>
              <a:gd name="T27" fmla="*/ 40 h 102"/>
              <a:gd name="T28" fmla="*/ 44 w 82"/>
              <a:gd name="T29" fmla="*/ 1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102">
                <a:moveTo>
                  <a:pt x="21" y="54"/>
                </a:moveTo>
                <a:cubicBezTo>
                  <a:pt x="21" y="57"/>
                  <a:pt x="21" y="57"/>
                  <a:pt x="21" y="57"/>
                </a:cubicBezTo>
                <a:cubicBezTo>
                  <a:pt x="21" y="76"/>
                  <a:pt x="29" y="85"/>
                  <a:pt x="45" y="85"/>
                </a:cubicBezTo>
                <a:cubicBezTo>
                  <a:pt x="53" y="85"/>
                  <a:pt x="61" y="84"/>
                  <a:pt x="77" y="79"/>
                </a:cubicBezTo>
                <a:cubicBezTo>
                  <a:pt x="81" y="90"/>
                  <a:pt x="81" y="90"/>
                  <a:pt x="81" y="90"/>
                </a:cubicBezTo>
                <a:cubicBezTo>
                  <a:pt x="61" y="99"/>
                  <a:pt x="51" y="102"/>
                  <a:pt x="39" y="102"/>
                </a:cubicBezTo>
                <a:cubicBezTo>
                  <a:pt x="15" y="102"/>
                  <a:pt x="0" y="84"/>
                  <a:pt x="0" y="54"/>
                </a:cubicBezTo>
                <a:cubicBezTo>
                  <a:pt x="0" y="22"/>
                  <a:pt x="16" y="0"/>
                  <a:pt x="43" y="0"/>
                </a:cubicBezTo>
                <a:cubicBezTo>
                  <a:pt x="69" y="0"/>
                  <a:pt x="82" y="16"/>
                  <a:pt x="82" y="49"/>
                </a:cubicBezTo>
                <a:cubicBezTo>
                  <a:pt x="82" y="54"/>
                  <a:pt x="82" y="54"/>
                  <a:pt x="82" y="54"/>
                </a:cubicBezTo>
                <a:lnTo>
                  <a:pt x="21" y="54"/>
                </a:lnTo>
                <a:close/>
                <a:moveTo>
                  <a:pt x="44" y="14"/>
                </a:moveTo>
                <a:cubicBezTo>
                  <a:pt x="31" y="14"/>
                  <a:pt x="24" y="24"/>
                  <a:pt x="22" y="42"/>
                </a:cubicBezTo>
                <a:cubicBezTo>
                  <a:pt x="63" y="40"/>
                  <a:pt x="63" y="40"/>
                  <a:pt x="63" y="40"/>
                </a:cubicBezTo>
                <a:cubicBezTo>
                  <a:pt x="63" y="23"/>
                  <a:pt x="57" y="14"/>
                  <a:pt x="44" y="14"/>
                </a:cubicBezTo>
              </a:path>
            </a:pathLst>
          </a:custGeom>
          <a:solidFill>
            <a:srgbClr val="0F2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9" name="Freeform 20"/>
          <p:cNvSpPr>
            <a:spLocks noEditPoints="1"/>
          </p:cNvSpPr>
          <p:nvPr userDrawn="1"/>
        </p:nvSpPr>
        <p:spPr bwMode="auto">
          <a:xfrm>
            <a:off x="11118850" y="663575"/>
            <a:ext cx="234950" cy="415925"/>
          </a:xfrm>
          <a:custGeom>
            <a:avLst/>
            <a:gdLst>
              <a:gd name="T0" fmla="*/ 65 w 84"/>
              <a:gd name="T1" fmla="*/ 146 h 148"/>
              <a:gd name="T2" fmla="*/ 65 w 84"/>
              <a:gd name="T3" fmla="*/ 137 h 148"/>
              <a:gd name="T4" fmla="*/ 33 w 84"/>
              <a:gd name="T5" fmla="*/ 148 h 148"/>
              <a:gd name="T6" fmla="*/ 0 w 84"/>
              <a:gd name="T7" fmla="*/ 97 h 148"/>
              <a:gd name="T8" fmla="*/ 35 w 84"/>
              <a:gd name="T9" fmla="*/ 46 h 148"/>
              <a:gd name="T10" fmla="*/ 64 w 84"/>
              <a:gd name="T11" fmla="*/ 57 h 148"/>
              <a:gd name="T12" fmla="*/ 64 w 84"/>
              <a:gd name="T13" fmla="*/ 0 h 148"/>
              <a:gd name="T14" fmla="*/ 84 w 84"/>
              <a:gd name="T15" fmla="*/ 0 h 148"/>
              <a:gd name="T16" fmla="*/ 84 w 84"/>
              <a:gd name="T17" fmla="*/ 146 h 148"/>
              <a:gd name="T18" fmla="*/ 65 w 84"/>
              <a:gd name="T19" fmla="*/ 146 h 148"/>
              <a:gd name="T20" fmla="*/ 64 w 84"/>
              <a:gd name="T21" fmla="*/ 69 h 148"/>
              <a:gd name="T22" fmla="*/ 42 w 84"/>
              <a:gd name="T23" fmla="*/ 64 h 148"/>
              <a:gd name="T24" fmla="*/ 21 w 84"/>
              <a:gd name="T25" fmla="*/ 97 h 148"/>
              <a:gd name="T26" fmla="*/ 41 w 84"/>
              <a:gd name="T27" fmla="*/ 131 h 148"/>
              <a:gd name="T28" fmla="*/ 64 w 84"/>
              <a:gd name="T29" fmla="*/ 125 h 148"/>
              <a:gd name="T30" fmla="*/ 64 w 84"/>
              <a:gd name="T31" fmla="*/ 6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148">
                <a:moveTo>
                  <a:pt x="65" y="146"/>
                </a:moveTo>
                <a:cubicBezTo>
                  <a:pt x="65" y="137"/>
                  <a:pt x="65" y="137"/>
                  <a:pt x="65" y="137"/>
                </a:cubicBezTo>
                <a:cubicBezTo>
                  <a:pt x="54" y="143"/>
                  <a:pt x="43" y="148"/>
                  <a:pt x="33" y="148"/>
                </a:cubicBezTo>
                <a:cubicBezTo>
                  <a:pt x="12" y="148"/>
                  <a:pt x="0" y="129"/>
                  <a:pt x="0" y="97"/>
                </a:cubicBezTo>
                <a:cubicBezTo>
                  <a:pt x="0" y="66"/>
                  <a:pt x="14" y="46"/>
                  <a:pt x="35" y="46"/>
                </a:cubicBezTo>
                <a:cubicBezTo>
                  <a:pt x="46" y="46"/>
                  <a:pt x="55" y="52"/>
                  <a:pt x="64" y="57"/>
                </a:cubicBezTo>
                <a:cubicBezTo>
                  <a:pt x="64" y="0"/>
                  <a:pt x="64" y="0"/>
                  <a:pt x="64" y="0"/>
                </a:cubicBezTo>
                <a:cubicBezTo>
                  <a:pt x="84" y="0"/>
                  <a:pt x="84" y="0"/>
                  <a:pt x="84" y="0"/>
                </a:cubicBezTo>
                <a:cubicBezTo>
                  <a:pt x="84" y="146"/>
                  <a:pt x="84" y="146"/>
                  <a:pt x="84" y="146"/>
                </a:cubicBezTo>
                <a:lnTo>
                  <a:pt x="65" y="146"/>
                </a:lnTo>
                <a:close/>
                <a:moveTo>
                  <a:pt x="64" y="69"/>
                </a:moveTo>
                <a:cubicBezTo>
                  <a:pt x="52" y="65"/>
                  <a:pt x="48" y="64"/>
                  <a:pt x="42" y="64"/>
                </a:cubicBezTo>
                <a:cubicBezTo>
                  <a:pt x="28" y="64"/>
                  <a:pt x="21" y="75"/>
                  <a:pt x="21" y="97"/>
                </a:cubicBezTo>
                <a:cubicBezTo>
                  <a:pt x="21" y="120"/>
                  <a:pt x="28" y="131"/>
                  <a:pt x="41" y="131"/>
                </a:cubicBezTo>
                <a:cubicBezTo>
                  <a:pt x="47" y="131"/>
                  <a:pt x="52" y="129"/>
                  <a:pt x="64" y="125"/>
                </a:cubicBezTo>
                <a:lnTo>
                  <a:pt x="64" y="69"/>
                </a:lnTo>
                <a:close/>
              </a:path>
            </a:pathLst>
          </a:custGeom>
          <a:solidFill>
            <a:srgbClr val="0F2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57" name="Date Placeholder 3"/>
          <p:cNvSpPr>
            <a:spLocks noGrp="1"/>
          </p:cNvSpPr>
          <p:nvPr userDrawn="1">
            <p:ph type="dt" sz="half" idx="2"/>
          </p:nvPr>
        </p:nvSpPr>
        <p:spPr>
          <a:xfrm>
            <a:off x="8271434" y="6434038"/>
            <a:ext cx="1945715" cy="365125"/>
          </a:xfrm>
          <a:prstGeom prst="rect">
            <a:avLst/>
          </a:prstGeom>
        </p:spPr>
        <p:txBody>
          <a:bodyPr anchor="ctr"/>
          <a:lstStyle>
            <a:lvl1pPr algn="r">
              <a:defRPr sz="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endParaRPr lang="en-GB" dirty="0"/>
          </a:p>
        </p:txBody>
      </p:sp>
    </p:spTree>
    <p:extLst>
      <p:ext uri="{BB962C8B-B14F-4D97-AF65-F5344CB8AC3E}">
        <p14:creationId xmlns:p14="http://schemas.microsoft.com/office/powerpoint/2010/main" val="9742257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914400" rtl="0" eaLnBrk="1" latinLnBrk="0" hangingPunct="1">
        <a:lnSpc>
          <a:spcPct val="90000"/>
        </a:lnSpc>
        <a:spcBef>
          <a:spcPct val="0"/>
        </a:spcBef>
        <a:buNone/>
        <a:defRPr sz="36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p:titleStyle>
    <p:bodyStyle>
      <a:lvl1pPr marL="228600" indent="-228600" algn="l" defTabSz="914400" rtl="0" eaLnBrk="1" latinLnBrk="0" hangingPunct="1">
        <a:lnSpc>
          <a:spcPct val="90000"/>
        </a:lnSpc>
        <a:spcBef>
          <a:spcPts val="1000"/>
        </a:spcBef>
        <a:buClr>
          <a:srgbClr val="2092B6"/>
        </a:buClr>
        <a:buFont typeface="Wingdings" panose="05000000000000000000" pitchFamily="2" charset="2"/>
        <a:buChar char="§"/>
        <a:defRPr sz="28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Clr>
          <a:srgbClr val="2092B6"/>
        </a:buClr>
        <a:buFont typeface="Wingdings" panose="05000000000000000000" pitchFamily="2" charset="2"/>
        <a:buChar char="§"/>
        <a:defRPr sz="2400" kern="1200">
          <a:solidFill>
            <a:srgbClr val="221E5B"/>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Clr>
          <a:srgbClr val="2092B6"/>
        </a:buClr>
        <a:buFont typeface="Wingdings" panose="05000000000000000000" pitchFamily="2" charset="2"/>
        <a:buChar char="§"/>
        <a:defRPr sz="2000" kern="1200">
          <a:solidFill>
            <a:srgbClr val="221E5B"/>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Clr>
          <a:srgbClr val="2092B6"/>
        </a:buClr>
        <a:buFont typeface="Wingdings" panose="05000000000000000000" pitchFamily="2" charset="2"/>
        <a:buChar char="§"/>
        <a:defRPr sz="1800" kern="1200">
          <a:solidFill>
            <a:srgbClr val="221E5B"/>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Clr>
          <a:srgbClr val="2092B6"/>
        </a:buClr>
        <a:buFont typeface="Wingdings" panose="05000000000000000000" pitchFamily="2" charset="2"/>
        <a:buChar char="§"/>
        <a:defRPr sz="1800" kern="1200">
          <a:solidFill>
            <a:srgbClr val="221E5B"/>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hyperlink" Target="https://reports.ofsted.gov.uk/" TargetMode="External"/><Relationship Id="rId7" Type="http://schemas.openxmlformats.org/officeDocument/2006/relationships/hyperlink" Target="http://www.twitter.com/ofstednews" TargetMode="External"/><Relationship Id="rId2" Type="http://schemas.openxmlformats.org/officeDocument/2006/relationships/hyperlink" Target="http://www.gov.uk/ofsted" TargetMode="External"/><Relationship Id="rId1" Type="http://schemas.openxmlformats.org/officeDocument/2006/relationships/slideLayout" Target="../slideLayouts/slideLayout2.xml"/><Relationship Id="rId6" Type="http://schemas.openxmlformats.org/officeDocument/2006/relationships/hyperlink" Target="http://www.slideshare.net/ofstednews" TargetMode="External"/><Relationship Id="rId11" Type="http://schemas.openxmlformats.org/officeDocument/2006/relationships/image" Target="../media/image38.png"/><Relationship Id="rId5" Type="http://schemas.openxmlformats.org/officeDocument/2006/relationships/hyperlink" Target="http://www.youtube.com/ofstednews" TargetMode="External"/><Relationship Id="rId10" Type="http://schemas.openxmlformats.org/officeDocument/2006/relationships/image" Target="../media/image37.png"/><Relationship Id="rId4" Type="http://schemas.openxmlformats.org/officeDocument/2006/relationships/hyperlink" Target="http://www.linkedin.com/company/ofsted" TargetMode="External"/><Relationship Id="rId9"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6.svg"/><Relationship Id="rId18" Type="http://schemas.openxmlformats.org/officeDocument/2006/relationships/image" Target="../media/image11.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5.png"/><Relationship Id="rId17" Type="http://schemas.openxmlformats.org/officeDocument/2006/relationships/image" Target="../media/image10.svg"/><Relationship Id="rId2" Type="http://schemas.openxmlformats.org/officeDocument/2006/relationships/tags" Target="../tags/tag4.xml"/><Relationship Id="rId16" Type="http://schemas.openxmlformats.org/officeDocument/2006/relationships/image" Target="../media/image9.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4.svg"/><Relationship Id="rId5" Type="http://schemas.openxmlformats.org/officeDocument/2006/relationships/tags" Target="../tags/tag7.xml"/><Relationship Id="rId15" Type="http://schemas.openxmlformats.org/officeDocument/2006/relationships/image" Target="../media/image8.svg"/><Relationship Id="rId10" Type="http://schemas.openxmlformats.org/officeDocument/2006/relationships/image" Target="../media/image3.png"/><Relationship Id="rId19" Type="http://schemas.openxmlformats.org/officeDocument/2006/relationships/image" Target="../media/image12.svg"/><Relationship Id="rId4" Type="http://schemas.openxmlformats.org/officeDocument/2006/relationships/tags" Target="../tags/tag6.xml"/><Relationship Id="rId9" Type="http://schemas.openxmlformats.org/officeDocument/2006/relationships/notesSlide" Target="../notesSlides/notesSlide2.xml"/><Relationship Id="rId1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6.png"/><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tags" Target="../tags/tag18.xml"/><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notesSlide" Target="../notesSlides/notesSlide5.xml"/><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slideLayout" Target="../slideLayouts/slideLayout6.xml"/><Relationship Id="rId9" Type="http://schemas.openxmlformats.org/officeDocument/2006/relationships/image" Target="../media/image21.svg"/><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21.xml"/><Relationship Id="rId7" Type="http://schemas.openxmlformats.org/officeDocument/2006/relationships/slideLayout" Target="../slideLayouts/slideLayout6.xml"/><Relationship Id="rId12" Type="http://schemas.openxmlformats.org/officeDocument/2006/relationships/chart" Target="../charts/chart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image" Target="../media/image30.png"/><Relationship Id="rId5" Type="http://schemas.openxmlformats.org/officeDocument/2006/relationships/tags" Target="../tags/tag23.xml"/><Relationship Id="rId10" Type="http://schemas.openxmlformats.org/officeDocument/2006/relationships/image" Target="../media/image29.png"/><Relationship Id="rId4" Type="http://schemas.openxmlformats.org/officeDocument/2006/relationships/tags" Target="../tags/tag22.xml"/><Relationship Id="rId9"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34.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3.png"/><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1122363"/>
            <a:ext cx="9455727" cy="2216149"/>
          </a:xfrm>
        </p:spPr>
        <p:txBody>
          <a:bodyPr/>
          <a:lstStyle/>
          <a:p>
            <a:r>
              <a:rPr lang="en-GB" dirty="0"/>
              <a:t>Responding to Regulatory Challenges</a:t>
            </a:r>
          </a:p>
        </p:txBody>
      </p:sp>
      <p:sp>
        <p:nvSpPr>
          <p:cNvPr id="3" name="Subtitle 2"/>
          <p:cNvSpPr>
            <a:spLocks noGrp="1"/>
          </p:cNvSpPr>
          <p:nvPr>
            <p:ph type="subTitle" idx="1"/>
          </p:nvPr>
        </p:nvSpPr>
        <p:spPr/>
        <p:txBody>
          <a:bodyPr/>
          <a:lstStyle/>
          <a:p>
            <a:r>
              <a:rPr lang="en-GB" dirty="0"/>
              <a:t>Rory Gribbell</a:t>
            </a:r>
          </a:p>
          <a:p>
            <a:r>
              <a:rPr lang="en-GB" dirty="0"/>
              <a:t>Director of Strategy and Engagement at Ofsted</a:t>
            </a:r>
          </a:p>
        </p:txBody>
      </p:sp>
    </p:spTree>
    <p:extLst>
      <p:ext uri="{BB962C8B-B14F-4D97-AF65-F5344CB8AC3E}">
        <p14:creationId xmlns:p14="http://schemas.microsoft.com/office/powerpoint/2010/main" val="38946093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2618" y="1770807"/>
            <a:ext cx="10515600" cy="4351338"/>
          </a:xfrm>
        </p:spPr>
        <p:txBody>
          <a:bodyPr/>
          <a:lstStyle/>
          <a:p>
            <a:pPr>
              <a:buNone/>
            </a:pPr>
            <a:r>
              <a:rPr lang="en-GB" altLang="en-US" sz="2400" u="sng" dirty="0">
                <a:solidFill>
                  <a:schemeClr val="tx2"/>
                </a:solidFill>
                <a:hlinkClick r:id="rId2">
                  <a:extLst>
                    <a:ext uri="{A12FA001-AC4F-418D-AE19-62706E023703}">
                      <ahyp:hlinkClr xmlns:ahyp="http://schemas.microsoft.com/office/drawing/2018/hyperlinkcolor" val="tx"/>
                    </a:ext>
                  </a:extLst>
                </a:hlinkClick>
              </a:rPr>
              <a:t>www.gov.uk/ofsted</a:t>
            </a:r>
            <a:endParaRPr lang="en-GB" altLang="en-US" sz="2400" u="sng" dirty="0">
              <a:solidFill>
                <a:schemeClr val="tx2"/>
              </a:solidFill>
            </a:endParaRPr>
          </a:p>
          <a:p>
            <a:pPr>
              <a:buNone/>
            </a:pPr>
            <a:r>
              <a:rPr lang="en-GB" altLang="en-US" sz="2400" u="sng" dirty="0">
                <a:solidFill>
                  <a:schemeClr val="tx2"/>
                </a:solidFill>
                <a:hlinkClick r:id="rId3">
                  <a:extLst>
                    <a:ext uri="{A12FA001-AC4F-418D-AE19-62706E023703}">
                      <ahyp:hlinkClr xmlns:ahyp="http://schemas.microsoft.com/office/drawing/2018/hyperlinkcolor" val="tx"/>
                    </a:ext>
                  </a:extLst>
                </a:hlinkClick>
              </a:rPr>
              <a:t>https://reports.ofsted.gov.uk</a:t>
            </a:r>
            <a:endParaRPr lang="en-GB" altLang="en-US" sz="2400" u="sng" dirty="0">
              <a:solidFill>
                <a:schemeClr val="tx2"/>
              </a:solidFill>
            </a:endParaRPr>
          </a:p>
          <a:p>
            <a:pPr>
              <a:buNone/>
            </a:pPr>
            <a:endParaRPr lang="en-GB" altLang="en-US" u="sng" dirty="0">
              <a:solidFill>
                <a:schemeClr val="tx2"/>
              </a:solidFill>
            </a:endParaRPr>
          </a:p>
          <a:p>
            <a:pPr lvl="1">
              <a:spcBef>
                <a:spcPts val="1500"/>
              </a:spcBef>
              <a:buNone/>
            </a:pPr>
            <a:r>
              <a:rPr lang="en-GB" altLang="en-US" u="sng" dirty="0">
                <a:solidFill>
                  <a:schemeClr val="tx2"/>
                </a:solidFill>
                <a:hlinkClick r:id="rId4">
                  <a:extLst>
                    <a:ext uri="{A12FA001-AC4F-418D-AE19-62706E023703}">
                      <ahyp:hlinkClr xmlns:ahyp="http://schemas.microsoft.com/office/drawing/2018/hyperlinkcolor" val="tx"/>
                    </a:ext>
                  </a:extLst>
                </a:hlinkClick>
              </a:rPr>
              <a:t>www.linkedin.com/company/ofsted</a:t>
            </a:r>
            <a:r>
              <a:rPr lang="en-GB" altLang="en-US" u="sng" dirty="0">
                <a:solidFill>
                  <a:schemeClr val="tx2"/>
                </a:solidFill>
              </a:rPr>
              <a:t> </a:t>
            </a:r>
          </a:p>
          <a:p>
            <a:pPr lvl="1">
              <a:spcBef>
                <a:spcPts val="1500"/>
              </a:spcBef>
              <a:buNone/>
            </a:pPr>
            <a:r>
              <a:rPr lang="en-GB" altLang="en-US" u="sng" dirty="0">
                <a:solidFill>
                  <a:schemeClr val="tx2"/>
                </a:solidFill>
                <a:hlinkClick r:id="rId5">
                  <a:extLst>
                    <a:ext uri="{A12FA001-AC4F-418D-AE19-62706E023703}">
                      <ahyp:hlinkClr xmlns:ahyp="http://schemas.microsoft.com/office/drawing/2018/hyperlinkcolor" val="tx"/>
                    </a:ext>
                  </a:extLst>
                </a:hlinkClick>
              </a:rPr>
              <a:t>www.youtube.com/ofstednews</a:t>
            </a:r>
            <a:r>
              <a:rPr lang="en-GB" altLang="en-US" u="sng" dirty="0">
                <a:solidFill>
                  <a:schemeClr val="tx2"/>
                </a:solidFill>
              </a:rPr>
              <a:t> </a:t>
            </a:r>
          </a:p>
          <a:p>
            <a:pPr lvl="1">
              <a:spcBef>
                <a:spcPts val="1500"/>
              </a:spcBef>
              <a:buNone/>
            </a:pPr>
            <a:r>
              <a:rPr lang="en-GB" altLang="en-US" u="sng" dirty="0">
                <a:solidFill>
                  <a:schemeClr val="tx2"/>
                </a:solidFill>
                <a:hlinkClick r:id="rId6">
                  <a:extLst>
                    <a:ext uri="{A12FA001-AC4F-418D-AE19-62706E023703}">
                      <ahyp:hlinkClr xmlns:ahyp="http://schemas.microsoft.com/office/drawing/2018/hyperlinkcolor" val="tx"/>
                    </a:ext>
                  </a:extLst>
                </a:hlinkClick>
              </a:rPr>
              <a:t>www.slideshare.net/ofstednews</a:t>
            </a:r>
            <a:r>
              <a:rPr lang="en-GB" altLang="en-US" u="sng" dirty="0">
                <a:solidFill>
                  <a:schemeClr val="tx2"/>
                </a:solidFill>
              </a:rPr>
              <a:t> </a:t>
            </a:r>
          </a:p>
          <a:p>
            <a:pPr lvl="1">
              <a:spcBef>
                <a:spcPts val="1500"/>
              </a:spcBef>
              <a:buNone/>
            </a:pPr>
            <a:r>
              <a:rPr lang="en-GB" altLang="en-US" u="sng" dirty="0">
                <a:solidFill>
                  <a:schemeClr val="tx2"/>
                </a:solidFill>
                <a:hlinkClick r:id="rId7">
                  <a:extLst>
                    <a:ext uri="{A12FA001-AC4F-418D-AE19-62706E023703}">
                      <ahyp:hlinkClr xmlns:ahyp="http://schemas.microsoft.com/office/drawing/2018/hyperlinkcolor" val="tx"/>
                    </a:ext>
                  </a:extLst>
                </a:hlinkClick>
              </a:rPr>
              <a:t>www.twitter.com/ofstednews</a:t>
            </a:r>
            <a:r>
              <a:rPr lang="en-GB" altLang="en-US" u="sng" dirty="0">
                <a:solidFill>
                  <a:schemeClr val="tx2"/>
                </a:solidFill>
              </a:rPr>
              <a:t> </a:t>
            </a:r>
          </a:p>
        </p:txBody>
      </p:sp>
      <p:pic>
        <p:nvPicPr>
          <p:cNvPr id="6" name="Picture 2" descr="C:\Users\crowe\Downloads\1469543308_slideshar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5585" y="4337043"/>
            <a:ext cx="396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descr="C:\Users\crowe\Downloads\1469543276_twitte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5585" y="4867268"/>
            <a:ext cx="396875"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C:\Users\crowe\Downloads\1469543271_linkedi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5585" y="3257543"/>
            <a:ext cx="404813"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descr="C:\Users\crowe\Downloads\1469543262_youtube_v2.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90823" y="3760780"/>
            <a:ext cx="406400"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9"/>
          <p:cNvGrpSpPr/>
          <p:nvPr/>
        </p:nvGrpSpPr>
        <p:grpSpPr>
          <a:xfrm>
            <a:off x="9362272" y="3637244"/>
            <a:ext cx="2247909" cy="2201807"/>
            <a:chOff x="-2039938" y="4012733"/>
            <a:chExt cx="1935163" cy="1895475"/>
          </a:xfrm>
          <a:solidFill>
            <a:srgbClr val="2092B6">
              <a:alpha val="25098"/>
            </a:srgbClr>
          </a:solidFill>
        </p:grpSpPr>
        <p:sp>
          <p:nvSpPr>
            <p:cNvPr id="11" name="Freeform 58"/>
            <p:cNvSpPr>
              <a:spLocks noEditPoints="1"/>
            </p:cNvSpPr>
            <p:nvPr userDrawn="1"/>
          </p:nvSpPr>
          <p:spPr bwMode="auto">
            <a:xfrm>
              <a:off x="-1189038" y="4012733"/>
              <a:ext cx="663575" cy="636588"/>
            </a:xfrm>
            <a:custGeom>
              <a:avLst/>
              <a:gdLst>
                <a:gd name="T0" fmla="*/ 94 w 237"/>
                <a:gd name="T1" fmla="*/ 55 h 227"/>
                <a:gd name="T2" fmla="*/ 102 w 237"/>
                <a:gd name="T3" fmla="*/ 28 h 227"/>
                <a:gd name="T4" fmla="*/ 93 w 237"/>
                <a:gd name="T5" fmla="*/ 13 h 227"/>
                <a:gd name="T6" fmla="*/ 67 w 237"/>
                <a:gd name="T7" fmla="*/ 5 h 227"/>
                <a:gd name="T8" fmla="*/ 59 w 237"/>
                <a:gd name="T9" fmla="*/ 32 h 227"/>
                <a:gd name="T10" fmla="*/ 67 w 237"/>
                <a:gd name="T11" fmla="*/ 47 h 227"/>
                <a:gd name="T12" fmla="*/ 94 w 237"/>
                <a:gd name="T13" fmla="*/ 55 h 227"/>
                <a:gd name="T14" fmla="*/ 205 w 237"/>
                <a:gd name="T15" fmla="*/ 15 h 227"/>
                <a:gd name="T16" fmla="*/ 177 w 237"/>
                <a:gd name="T17" fmla="*/ 16 h 227"/>
                <a:gd name="T18" fmla="*/ 112 w 237"/>
                <a:gd name="T19" fmla="*/ 86 h 227"/>
                <a:gd name="T20" fmla="*/ 18 w 237"/>
                <a:gd name="T21" fmla="*/ 104 h 227"/>
                <a:gd name="T22" fmla="*/ 2 w 237"/>
                <a:gd name="T23" fmla="*/ 128 h 227"/>
                <a:gd name="T24" fmla="*/ 25 w 237"/>
                <a:gd name="T25" fmla="*/ 143 h 227"/>
                <a:gd name="T26" fmla="*/ 99 w 237"/>
                <a:gd name="T27" fmla="*/ 129 h 227"/>
                <a:gd name="T28" fmla="*/ 89 w 237"/>
                <a:gd name="T29" fmla="*/ 203 h 227"/>
                <a:gd name="T30" fmla="*/ 107 w 237"/>
                <a:gd name="T31" fmla="*/ 225 h 227"/>
                <a:gd name="T32" fmla="*/ 129 w 237"/>
                <a:gd name="T33" fmla="*/ 208 h 227"/>
                <a:gd name="T34" fmla="*/ 138 w 237"/>
                <a:gd name="T35" fmla="*/ 134 h 227"/>
                <a:gd name="T36" fmla="*/ 206 w 237"/>
                <a:gd name="T37" fmla="*/ 166 h 227"/>
                <a:gd name="T38" fmla="*/ 232 w 237"/>
                <a:gd name="T39" fmla="*/ 156 h 227"/>
                <a:gd name="T40" fmla="*/ 223 w 237"/>
                <a:gd name="T41" fmla="*/ 130 h 227"/>
                <a:gd name="T42" fmla="*/ 155 w 237"/>
                <a:gd name="T43" fmla="*/ 98 h 227"/>
                <a:gd name="T44" fmla="*/ 206 w 237"/>
                <a:gd name="T45" fmla="*/ 43 h 227"/>
                <a:gd name="T46" fmla="*/ 205 w 237"/>
                <a:gd name="T47" fmla="*/ 1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7" h="227">
                  <a:moveTo>
                    <a:pt x="94" y="55"/>
                  </a:moveTo>
                  <a:cubicBezTo>
                    <a:pt x="104" y="50"/>
                    <a:pt x="107" y="38"/>
                    <a:pt x="102" y="28"/>
                  </a:cubicBezTo>
                  <a:cubicBezTo>
                    <a:pt x="93" y="13"/>
                    <a:pt x="93" y="13"/>
                    <a:pt x="93" y="13"/>
                  </a:cubicBezTo>
                  <a:cubicBezTo>
                    <a:pt x="88" y="3"/>
                    <a:pt x="76" y="0"/>
                    <a:pt x="67" y="5"/>
                  </a:cubicBezTo>
                  <a:cubicBezTo>
                    <a:pt x="57" y="10"/>
                    <a:pt x="54" y="23"/>
                    <a:pt x="59" y="32"/>
                  </a:cubicBezTo>
                  <a:cubicBezTo>
                    <a:pt x="67" y="47"/>
                    <a:pt x="67" y="47"/>
                    <a:pt x="67" y="47"/>
                  </a:cubicBezTo>
                  <a:cubicBezTo>
                    <a:pt x="73" y="57"/>
                    <a:pt x="85" y="61"/>
                    <a:pt x="94" y="55"/>
                  </a:cubicBezTo>
                  <a:moveTo>
                    <a:pt x="205" y="15"/>
                  </a:moveTo>
                  <a:cubicBezTo>
                    <a:pt x="197" y="8"/>
                    <a:pt x="184" y="8"/>
                    <a:pt x="177" y="16"/>
                  </a:cubicBezTo>
                  <a:cubicBezTo>
                    <a:pt x="112" y="86"/>
                    <a:pt x="112" y="86"/>
                    <a:pt x="112" y="86"/>
                  </a:cubicBezTo>
                  <a:cubicBezTo>
                    <a:pt x="18" y="104"/>
                    <a:pt x="18" y="104"/>
                    <a:pt x="18" y="104"/>
                  </a:cubicBezTo>
                  <a:cubicBezTo>
                    <a:pt x="7" y="107"/>
                    <a:pt x="0" y="117"/>
                    <a:pt x="2" y="128"/>
                  </a:cubicBezTo>
                  <a:cubicBezTo>
                    <a:pt x="4" y="138"/>
                    <a:pt x="15" y="145"/>
                    <a:pt x="25" y="143"/>
                  </a:cubicBezTo>
                  <a:cubicBezTo>
                    <a:pt x="99" y="129"/>
                    <a:pt x="99" y="129"/>
                    <a:pt x="99" y="129"/>
                  </a:cubicBezTo>
                  <a:cubicBezTo>
                    <a:pt x="89" y="203"/>
                    <a:pt x="89" y="203"/>
                    <a:pt x="89" y="203"/>
                  </a:cubicBezTo>
                  <a:cubicBezTo>
                    <a:pt x="88" y="214"/>
                    <a:pt x="96" y="224"/>
                    <a:pt x="107" y="225"/>
                  </a:cubicBezTo>
                  <a:cubicBezTo>
                    <a:pt x="118" y="227"/>
                    <a:pt x="128" y="219"/>
                    <a:pt x="129" y="208"/>
                  </a:cubicBezTo>
                  <a:cubicBezTo>
                    <a:pt x="138" y="134"/>
                    <a:pt x="138" y="134"/>
                    <a:pt x="138" y="134"/>
                  </a:cubicBezTo>
                  <a:cubicBezTo>
                    <a:pt x="206" y="166"/>
                    <a:pt x="206" y="166"/>
                    <a:pt x="206" y="166"/>
                  </a:cubicBezTo>
                  <a:cubicBezTo>
                    <a:pt x="216" y="170"/>
                    <a:pt x="227" y="166"/>
                    <a:pt x="232" y="156"/>
                  </a:cubicBezTo>
                  <a:cubicBezTo>
                    <a:pt x="237" y="146"/>
                    <a:pt x="232" y="134"/>
                    <a:pt x="223" y="130"/>
                  </a:cubicBezTo>
                  <a:cubicBezTo>
                    <a:pt x="155" y="98"/>
                    <a:pt x="155" y="98"/>
                    <a:pt x="155" y="98"/>
                  </a:cubicBezTo>
                  <a:cubicBezTo>
                    <a:pt x="206" y="43"/>
                    <a:pt x="206" y="43"/>
                    <a:pt x="206" y="43"/>
                  </a:cubicBezTo>
                  <a:cubicBezTo>
                    <a:pt x="213" y="35"/>
                    <a:pt x="213" y="23"/>
                    <a:pt x="205" y="15"/>
                  </a:cubicBezTo>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59"/>
            <p:cNvSpPr>
              <a:spLocks noEditPoints="1"/>
            </p:cNvSpPr>
            <p:nvPr userDrawn="1"/>
          </p:nvSpPr>
          <p:spPr bwMode="auto">
            <a:xfrm>
              <a:off x="-2039938" y="4474695"/>
              <a:ext cx="965200" cy="925513"/>
            </a:xfrm>
            <a:custGeom>
              <a:avLst/>
              <a:gdLst>
                <a:gd name="T0" fmla="*/ 137 w 344"/>
                <a:gd name="T1" fmla="*/ 80 h 330"/>
                <a:gd name="T2" fmla="*/ 148 w 344"/>
                <a:gd name="T3" fmla="*/ 41 h 330"/>
                <a:gd name="T4" fmla="*/ 136 w 344"/>
                <a:gd name="T5" fmla="*/ 19 h 330"/>
                <a:gd name="T6" fmla="*/ 97 w 344"/>
                <a:gd name="T7" fmla="*/ 7 h 330"/>
                <a:gd name="T8" fmla="*/ 85 w 344"/>
                <a:gd name="T9" fmla="*/ 47 h 330"/>
                <a:gd name="T10" fmla="*/ 98 w 344"/>
                <a:gd name="T11" fmla="*/ 69 h 330"/>
                <a:gd name="T12" fmla="*/ 137 w 344"/>
                <a:gd name="T13" fmla="*/ 80 h 330"/>
                <a:gd name="T14" fmla="*/ 298 w 344"/>
                <a:gd name="T15" fmla="*/ 22 h 330"/>
                <a:gd name="T16" fmla="*/ 257 w 344"/>
                <a:gd name="T17" fmla="*/ 24 h 330"/>
                <a:gd name="T18" fmla="*/ 163 w 344"/>
                <a:gd name="T19" fmla="*/ 125 h 330"/>
                <a:gd name="T20" fmla="*/ 26 w 344"/>
                <a:gd name="T21" fmla="*/ 152 h 330"/>
                <a:gd name="T22" fmla="*/ 3 w 344"/>
                <a:gd name="T23" fmla="*/ 185 h 330"/>
                <a:gd name="T24" fmla="*/ 37 w 344"/>
                <a:gd name="T25" fmla="*/ 208 h 330"/>
                <a:gd name="T26" fmla="*/ 143 w 344"/>
                <a:gd name="T27" fmla="*/ 187 h 330"/>
                <a:gd name="T28" fmla="*/ 130 w 344"/>
                <a:gd name="T29" fmla="*/ 296 h 330"/>
                <a:gd name="T30" fmla="*/ 155 w 344"/>
                <a:gd name="T31" fmla="*/ 328 h 330"/>
                <a:gd name="T32" fmla="*/ 187 w 344"/>
                <a:gd name="T33" fmla="*/ 303 h 330"/>
                <a:gd name="T34" fmla="*/ 201 w 344"/>
                <a:gd name="T35" fmla="*/ 195 h 330"/>
                <a:gd name="T36" fmla="*/ 299 w 344"/>
                <a:gd name="T37" fmla="*/ 241 h 330"/>
                <a:gd name="T38" fmla="*/ 337 w 344"/>
                <a:gd name="T39" fmla="*/ 227 h 330"/>
                <a:gd name="T40" fmla="*/ 323 w 344"/>
                <a:gd name="T41" fmla="*/ 188 h 330"/>
                <a:gd name="T42" fmla="*/ 225 w 344"/>
                <a:gd name="T43" fmla="*/ 143 h 330"/>
                <a:gd name="T44" fmla="*/ 299 w 344"/>
                <a:gd name="T45" fmla="*/ 63 h 330"/>
                <a:gd name="T46" fmla="*/ 298 w 344"/>
                <a:gd name="T47" fmla="*/ 2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4" h="330">
                  <a:moveTo>
                    <a:pt x="137" y="80"/>
                  </a:moveTo>
                  <a:cubicBezTo>
                    <a:pt x="151" y="72"/>
                    <a:pt x="156" y="55"/>
                    <a:pt x="148" y="41"/>
                  </a:cubicBezTo>
                  <a:cubicBezTo>
                    <a:pt x="136" y="19"/>
                    <a:pt x="136" y="19"/>
                    <a:pt x="136" y="19"/>
                  </a:cubicBezTo>
                  <a:cubicBezTo>
                    <a:pt x="128" y="5"/>
                    <a:pt x="111" y="0"/>
                    <a:pt x="97" y="7"/>
                  </a:cubicBezTo>
                  <a:cubicBezTo>
                    <a:pt x="83" y="15"/>
                    <a:pt x="78" y="33"/>
                    <a:pt x="85" y="47"/>
                  </a:cubicBezTo>
                  <a:cubicBezTo>
                    <a:pt x="98" y="69"/>
                    <a:pt x="98" y="69"/>
                    <a:pt x="98" y="69"/>
                  </a:cubicBezTo>
                  <a:cubicBezTo>
                    <a:pt x="106" y="83"/>
                    <a:pt x="123" y="88"/>
                    <a:pt x="137" y="80"/>
                  </a:cubicBezTo>
                  <a:moveTo>
                    <a:pt x="298" y="22"/>
                  </a:moveTo>
                  <a:cubicBezTo>
                    <a:pt x="286" y="11"/>
                    <a:pt x="268" y="12"/>
                    <a:pt x="257" y="24"/>
                  </a:cubicBezTo>
                  <a:cubicBezTo>
                    <a:pt x="163" y="125"/>
                    <a:pt x="163" y="125"/>
                    <a:pt x="163" y="125"/>
                  </a:cubicBezTo>
                  <a:cubicBezTo>
                    <a:pt x="26" y="152"/>
                    <a:pt x="26" y="152"/>
                    <a:pt x="26" y="152"/>
                  </a:cubicBezTo>
                  <a:cubicBezTo>
                    <a:pt x="10" y="155"/>
                    <a:pt x="0" y="170"/>
                    <a:pt x="3" y="185"/>
                  </a:cubicBezTo>
                  <a:cubicBezTo>
                    <a:pt x="6" y="201"/>
                    <a:pt x="21" y="211"/>
                    <a:pt x="37" y="208"/>
                  </a:cubicBezTo>
                  <a:cubicBezTo>
                    <a:pt x="143" y="187"/>
                    <a:pt x="143" y="187"/>
                    <a:pt x="143" y="187"/>
                  </a:cubicBezTo>
                  <a:cubicBezTo>
                    <a:pt x="130" y="296"/>
                    <a:pt x="130" y="296"/>
                    <a:pt x="130" y="296"/>
                  </a:cubicBezTo>
                  <a:cubicBezTo>
                    <a:pt x="128" y="311"/>
                    <a:pt x="139" y="326"/>
                    <a:pt x="155" y="328"/>
                  </a:cubicBezTo>
                  <a:cubicBezTo>
                    <a:pt x="171" y="330"/>
                    <a:pt x="185" y="318"/>
                    <a:pt x="187" y="303"/>
                  </a:cubicBezTo>
                  <a:cubicBezTo>
                    <a:pt x="201" y="195"/>
                    <a:pt x="201" y="195"/>
                    <a:pt x="201" y="195"/>
                  </a:cubicBezTo>
                  <a:cubicBezTo>
                    <a:pt x="299" y="241"/>
                    <a:pt x="299" y="241"/>
                    <a:pt x="299" y="241"/>
                  </a:cubicBezTo>
                  <a:cubicBezTo>
                    <a:pt x="314" y="247"/>
                    <a:pt x="331" y="241"/>
                    <a:pt x="337" y="227"/>
                  </a:cubicBezTo>
                  <a:cubicBezTo>
                    <a:pt x="344" y="212"/>
                    <a:pt x="338" y="195"/>
                    <a:pt x="323" y="188"/>
                  </a:cubicBezTo>
                  <a:cubicBezTo>
                    <a:pt x="225" y="143"/>
                    <a:pt x="225" y="143"/>
                    <a:pt x="225" y="143"/>
                  </a:cubicBezTo>
                  <a:cubicBezTo>
                    <a:pt x="299" y="63"/>
                    <a:pt x="299" y="63"/>
                    <a:pt x="299" y="63"/>
                  </a:cubicBezTo>
                  <a:cubicBezTo>
                    <a:pt x="310" y="51"/>
                    <a:pt x="309" y="33"/>
                    <a:pt x="298" y="22"/>
                  </a:cubicBezTo>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60"/>
            <p:cNvSpPr>
              <a:spLocks noEditPoints="1"/>
            </p:cNvSpPr>
            <p:nvPr userDrawn="1"/>
          </p:nvSpPr>
          <p:spPr bwMode="auto">
            <a:xfrm>
              <a:off x="-1198563" y="4825533"/>
              <a:ext cx="1093788" cy="1082675"/>
            </a:xfrm>
            <a:custGeom>
              <a:avLst/>
              <a:gdLst>
                <a:gd name="T0" fmla="*/ 168 w 390"/>
                <a:gd name="T1" fmla="*/ 96 h 386"/>
                <a:gd name="T2" fmla="*/ 185 w 390"/>
                <a:gd name="T3" fmla="*/ 52 h 386"/>
                <a:gd name="T4" fmla="*/ 174 w 390"/>
                <a:gd name="T5" fmla="*/ 25 h 386"/>
                <a:gd name="T6" fmla="*/ 130 w 390"/>
                <a:gd name="T7" fmla="*/ 8 h 386"/>
                <a:gd name="T8" fmla="*/ 112 w 390"/>
                <a:gd name="T9" fmla="*/ 51 h 386"/>
                <a:gd name="T10" fmla="*/ 124 w 390"/>
                <a:gd name="T11" fmla="*/ 78 h 386"/>
                <a:gd name="T12" fmla="*/ 168 w 390"/>
                <a:gd name="T13" fmla="*/ 96 h 386"/>
                <a:gd name="T14" fmla="*/ 359 w 390"/>
                <a:gd name="T15" fmla="*/ 48 h 386"/>
                <a:gd name="T16" fmla="*/ 312 w 390"/>
                <a:gd name="T17" fmla="*/ 45 h 386"/>
                <a:gd name="T18" fmla="*/ 192 w 390"/>
                <a:gd name="T19" fmla="*/ 150 h 386"/>
                <a:gd name="T20" fmla="*/ 32 w 390"/>
                <a:gd name="T21" fmla="*/ 165 h 386"/>
                <a:gd name="T22" fmla="*/ 2 w 390"/>
                <a:gd name="T23" fmla="*/ 201 h 386"/>
                <a:gd name="T24" fmla="*/ 38 w 390"/>
                <a:gd name="T25" fmla="*/ 231 h 386"/>
                <a:gd name="T26" fmla="*/ 163 w 390"/>
                <a:gd name="T27" fmla="*/ 220 h 386"/>
                <a:gd name="T28" fmla="*/ 135 w 390"/>
                <a:gd name="T29" fmla="*/ 342 h 386"/>
                <a:gd name="T30" fmla="*/ 160 w 390"/>
                <a:gd name="T31" fmla="*/ 382 h 386"/>
                <a:gd name="T32" fmla="*/ 200 w 390"/>
                <a:gd name="T33" fmla="*/ 357 h 386"/>
                <a:gd name="T34" fmla="*/ 227 w 390"/>
                <a:gd name="T35" fmla="*/ 235 h 386"/>
                <a:gd name="T36" fmla="*/ 335 w 390"/>
                <a:gd name="T37" fmla="*/ 299 h 386"/>
                <a:gd name="T38" fmla="*/ 381 w 390"/>
                <a:gd name="T39" fmla="*/ 287 h 386"/>
                <a:gd name="T40" fmla="*/ 369 w 390"/>
                <a:gd name="T41" fmla="*/ 242 h 386"/>
                <a:gd name="T42" fmla="*/ 262 w 390"/>
                <a:gd name="T43" fmla="*/ 178 h 386"/>
                <a:gd name="T44" fmla="*/ 356 w 390"/>
                <a:gd name="T45" fmla="*/ 95 h 386"/>
                <a:gd name="T46" fmla="*/ 359 w 390"/>
                <a:gd name="T47" fmla="*/ 4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386">
                  <a:moveTo>
                    <a:pt x="168" y="96"/>
                  </a:moveTo>
                  <a:cubicBezTo>
                    <a:pt x="185" y="89"/>
                    <a:pt x="192" y="69"/>
                    <a:pt x="185" y="52"/>
                  </a:cubicBezTo>
                  <a:cubicBezTo>
                    <a:pt x="174" y="25"/>
                    <a:pt x="174" y="25"/>
                    <a:pt x="174" y="25"/>
                  </a:cubicBezTo>
                  <a:cubicBezTo>
                    <a:pt x="166" y="8"/>
                    <a:pt x="147" y="0"/>
                    <a:pt x="130" y="8"/>
                  </a:cubicBezTo>
                  <a:cubicBezTo>
                    <a:pt x="113" y="15"/>
                    <a:pt x="105" y="35"/>
                    <a:pt x="112" y="51"/>
                  </a:cubicBezTo>
                  <a:cubicBezTo>
                    <a:pt x="124" y="78"/>
                    <a:pt x="124" y="78"/>
                    <a:pt x="124" y="78"/>
                  </a:cubicBezTo>
                  <a:cubicBezTo>
                    <a:pt x="131" y="95"/>
                    <a:pt x="151" y="103"/>
                    <a:pt x="168" y="96"/>
                  </a:cubicBezTo>
                  <a:moveTo>
                    <a:pt x="359" y="48"/>
                  </a:moveTo>
                  <a:cubicBezTo>
                    <a:pt x="347" y="34"/>
                    <a:pt x="326" y="33"/>
                    <a:pt x="312" y="45"/>
                  </a:cubicBezTo>
                  <a:cubicBezTo>
                    <a:pt x="192" y="150"/>
                    <a:pt x="192" y="150"/>
                    <a:pt x="192" y="150"/>
                  </a:cubicBezTo>
                  <a:cubicBezTo>
                    <a:pt x="32" y="165"/>
                    <a:pt x="32" y="165"/>
                    <a:pt x="32" y="165"/>
                  </a:cubicBezTo>
                  <a:cubicBezTo>
                    <a:pt x="13" y="167"/>
                    <a:pt x="0" y="183"/>
                    <a:pt x="2" y="201"/>
                  </a:cubicBezTo>
                  <a:cubicBezTo>
                    <a:pt x="3" y="220"/>
                    <a:pt x="19" y="233"/>
                    <a:pt x="38" y="231"/>
                  </a:cubicBezTo>
                  <a:cubicBezTo>
                    <a:pt x="163" y="220"/>
                    <a:pt x="163" y="220"/>
                    <a:pt x="163" y="220"/>
                  </a:cubicBezTo>
                  <a:cubicBezTo>
                    <a:pt x="135" y="342"/>
                    <a:pt x="135" y="342"/>
                    <a:pt x="135" y="342"/>
                  </a:cubicBezTo>
                  <a:cubicBezTo>
                    <a:pt x="131" y="360"/>
                    <a:pt x="142" y="378"/>
                    <a:pt x="160" y="382"/>
                  </a:cubicBezTo>
                  <a:cubicBezTo>
                    <a:pt x="178" y="386"/>
                    <a:pt x="196" y="375"/>
                    <a:pt x="200" y="357"/>
                  </a:cubicBezTo>
                  <a:cubicBezTo>
                    <a:pt x="227" y="235"/>
                    <a:pt x="227" y="235"/>
                    <a:pt x="227" y="235"/>
                  </a:cubicBezTo>
                  <a:cubicBezTo>
                    <a:pt x="335" y="299"/>
                    <a:pt x="335" y="299"/>
                    <a:pt x="335" y="299"/>
                  </a:cubicBezTo>
                  <a:cubicBezTo>
                    <a:pt x="351" y="308"/>
                    <a:pt x="371" y="303"/>
                    <a:pt x="381" y="287"/>
                  </a:cubicBezTo>
                  <a:cubicBezTo>
                    <a:pt x="390" y="272"/>
                    <a:pt x="385" y="251"/>
                    <a:pt x="369" y="242"/>
                  </a:cubicBezTo>
                  <a:cubicBezTo>
                    <a:pt x="262" y="178"/>
                    <a:pt x="262" y="178"/>
                    <a:pt x="262" y="178"/>
                  </a:cubicBezTo>
                  <a:cubicBezTo>
                    <a:pt x="356" y="95"/>
                    <a:pt x="356" y="95"/>
                    <a:pt x="356" y="95"/>
                  </a:cubicBezTo>
                  <a:cubicBezTo>
                    <a:pt x="370" y="83"/>
                    <a:pt x="371" y="62"/>
                    <a:pt x="359" y="48"/>
                  </a:cubicBezTo>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Title 11">
            <a:extLst>
              <a:ext uri="{FF2B5EF4-FFF2-40B4-BE49-F238E27FC236}">
                <a16:creationId xmlns:a16="http://schemas.microsoft.com/office/drawing/2014/main" id="{565C3EEA-9445-CCD9-4E5F-3DFF557E2CC3}"/>
              </a:ext>
            </a:extLst>
          </p:cNvPr>
          <p:cNvSpPr txBox="1">
            <a:spLocks/>
          </p:cNvSpPr>
          <p:nvPr/>
        </p:nvSpPr>
        <p:spPr>
          <a:xfrm>
            <a:off x="460800" y="205200"/>
            <a:ext cx="929986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a:lstStyle>
          <a:p>
            <a:r>
              <a:rPr lang="en-GB" sz="2800" dirty="0">
                <a:solidFill>
                  <a:srgbClr val="8FAADC"/>
                </a:solidFill>
              </a:rPr>
              <a:t>Ofsted on the web and social media</a:t>
            </a:r>
            <a:endParaRPr lang="en-GB" sz="2600" dirty="0">
              <a:solidFill>
                <a:srgbClr val="8FAADC"/>
              </a:solidFill>
            </a:endParaRPr>
          </a:p>
        </p:txBody>
      </p:sp>
      <p:sp>
        <p:nvSpPr>
          <p:cNvPr id="15" name="Slide Number Placeholder 3">
            <a:extLst>
              <a:ext uri="{FF2B5EF4-FFF2-40B4-BE49-F238E27FC236}">
                <a16:creationId xmlns:a16="http://schemas.microsoft.com/office/drawing/2014/main" id="{52D2923E-0937-94B1-8CB7-F9BBAE102760}"/>
              </a:ext>
            </a:extLst>
          </p:cNvPr>
          <p:cNvSpPr txBox="1">
            <a:spLocks/>
          </p:cNvSpPr>
          <p:nvPr/>
        </p:nvSpPr>
        <p:spPr>
          <a:xfrm>
            <a:off x="10937802" y="6370793"/>
            <a:ext cx="1068387"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F4C8201-D8A8-417D-8A18-42E93E6C5D44}" type="slidenum">
              <a:rPr lang="en-GB" smtClean="0"/>
              <a:pPr>
                <a:defRPr/>
              </a:pPr>
              <a:t>10</a:t>
            </a:fld>
            <a:endParaRPr lang="en-GB" dirty="0"/>
          </a:p>
        </p:txBody>
      </p:sp>
    </p:spTree>
    <p:extLst>
      <p:ext uri="{BB962C8B-B14F-4D97-AF65-F5344CB8AC3E}">
        <p14:creationId xmlns:p14="http://schemas.microsoft.com/office/powerpoint/2010/main" val="481639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F843C14-72D9-427B-8C7B-33F63B346D2A}"/>
              </a:ext>
            </a:extLst>
          </p:cNvPr>
          <p:cNvSpPr>
            <a:spLocks noGrp="1"/>
          </p:cNvSpPr>
          <p:nvPr>
            <p:ph type="sldNum" sz="quarter" idx="4294967295"/>
          </p:nvPr>
        </p:nvSpPr>
        <p:spPr>
          <a:xfrm>
            <a:off x="10260474" y="6492875"/>
            <a:ext cx="106838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4C8201-D8A8-417D-8A18-42E93E6C5D44}" type="slidenum">
              <a:rPr kumimoji="0" lang="en-GB" sz="1200" b="0" i="0" u="none" strike="noStrike" kern="1200" cap="none" spc="0" normalizeH="0" baseline="0" noProof="0" smtClean="0">
                <a:ln>
                  <a:noFill/>
                </a:ln>
                <a:solidFill>
                  <a:srgbClr val="221E5B"/>
                </a:solidFill>
                <a:effectLst/>
                <a:uLnTx/>
                <a:uFillTx/>
                <a:latin typeface="Tahoma" panose="020B0604030504040204" pitchFamily="34" charset="0"/>
                <a:ea typeface="Tahoma" panose="020B0604030504040204" pitchFamily="34" charset="0"/>
                <a:cs typeface="Tahom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srgbClr val="221E5B"/>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2" name="Title 11">
            <a:extLst>
              <a:ext uri="{FF2B5EF4-FFF2-40B4-BE49-F238E27FC236}">
                <a16:creationId xmlns:a16="http://schemas.microsoft.com/office/drawing/2014/main" id="{E43BC7F2-B02C-46B9-9EFE-801E2713D8D0}"/>
              </a:ext>
            </a:extLst>
          </p:cNvPr>
          <p:cNvSpPr>
            <a:spLocks noGrp="1"/>
          </p:cNvSpPr>
          <p:nvPr>
            <p:ph type="title"/>
          </p:nvPr>
        </p:nvSpPr>
        <p:spPr>
          <a:xfrm>
            <a:off x="533106" y="365125"/>
            <a:ext cx="11426011" cy="1325563"/>
          </a:xfrm>
        </p:spPr>
        <p:txBody>
          <a:bodyPr>
            <a:normAutofit/>
          </a:bodyPr>
          <a:lstStyle/>
          <a:p>
            <a:r>
              <a:rPr lang="en-GB" sz="2600" dirty="0">
                <a:solidFill>
                  <a:schemeClr val="accent5">
                    <a:lumMod val="60000"/>
                    <a:lumOff val="40000"/>
                  </a:schemeClr>
                </a:solidFill>
              </a:rPr>
              <a:t>Agenda: </a:t>
            </a:r>
            <a:r>
              <a:rPr lang="en-GB" sz="2600" dirty="0">
                <a:solidFill>
                  <a:schemeClr val="tx2"/>
                </a:solidFill>
              </a:rPr>
              <a:t>Dealing with a crisis of legitimacy</a:t>
            </a:r>
          </a:p>
        </p:txBody>
      </p:sp>
      <p:sp>
        <p:nvSpPr>
          <p:cNvPr id="19" name="TextBox 18">
            <a:extLst>
              <a:ext uri="{FF2B5EF4-FFF2-40B4-BE49-F238E27FC236}">
                <a16:creationId xmlns:a16="http://schemas.microsoft.com/office/drawing/2014/main" id="{860F51F1-BC2C-AB78-20C3-D01B22944061}"/>
              </a:ext>
            </a:extLst>
          </p:cNvPr>
          <p:cNvSpPr txBox="1"/>
          <p:nvPr/>
        </p:nvSpPr>
        <p:spPr>
          <a:xfrm>
            <a:off x="533106" y="1784574"/>
            <a:ext cx="5045443" cy="203132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dirty="0">
                <a:solidFill>
                  <a:srgbClr val="44546A"/>
                </a:solidFill>
                <a:latin typeface="Tahoma" panose="020B0604030504040204" pitchFamily="34" charset="0"/>
                <a:ea typeface="Tahoma" panose="020B0604030504040204" pitchFamily="34" charset="0"/>
                <a:cs typeface="Tahoma" panose="020B0604030504040204" pitchFamily="34" charset="0"/>
              </a:rPr>
              <a:t>Introduction to Ofsted</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Crisis of confidenc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dirty="0">
                <a:solidFill>
                  <a:srgbClr val="44546A"/>
                </a:solidFill>
                <a:latin typeface="Tahoma" panose="020B0604030504040204" pitchFamily="34" charset="0"/>
                <a:ea typeface="Tahoma" panose="020B0604030504040204" pitchFamily="34" charset="0"/>
                <a:cs typeface="Tahoma" panose="020B0604030504040204" pitchFamily="34" charset="0"/>
              </a:rPr>
              <a:t>Reform strateg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GB" dirty="0">
              <a:solidFill>
                <a:srgbClr val="44546A"/>
              </a:solidFill>
              <a:latin typeface="Tahoma" panose="020B0604030504040204" pitchFamily="34" charset="0"/>
              <a:ea typeface="Tahoma" panose="020B0604030504040204" pitchFamily="34" charset="0"/>
              <a:cs typeface="Tahoma" panose="020B060403050404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800"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Where are we now? </a:t>
            </a:r>
            <a:endParaRPr kumimoji="0" lang="en-GB" sz="180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TextBox 1">
            <a:extLst>
              <a:ext uri="{FF2B5EF4-FFF2-40B4-BE49-F238E27FC236}">
                <a16:creationId xmlns:a16="http://schemas.microsoft.com/office/drawing/2014/main" id="{7C1E460F-3437-B2E2-5461-43CDAA13FAD3}"/>
              </a:ext>
            </a:extLst>
          </p:cNvPr>
          <p:cNvSpPr txBox="1"/>
          <p:nvPr/>
        </p:nvSpPr>
        <p:spPr>
          <a:xfrm>
            <a:off x="5358419" y="1807010"/>
            <a:ext cx="3614332" cy="3539430"/>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GB" sz="1400" b="1" dirty="0">
                <a:solidFill>
                  <a:schemeClr val="tx2"/>
                </a:solidFill>
                <a:latin typeface="Tahoma" panose="020B0604030504040204" pitchFamily="34" charset="0"/>
                <a:ea typeface="Tahoma" panose="020B0604030504040204" pitchFamily="34" charset="0"/>
                <a:cs typeface="Tahoma" panose="020B0604030504040204" pitchFamily="34" charset="0"/>
              </a:rPr>
              <a:t>Biography</a:t>
            </a:r>
          </a:p>
          <a:p>
            <a:pPr marR="0" lvl="0" algn="l" defTabSz="914400" rtl="0" eaLnBrk="1" fontAlgn="auto" latinLnBrk="0" hangingPunct="1">
              <a:lnSpc>
                <a:spcPct val="100000"/>
              </a:lnSpc>
              <a:spcBef>
                <a:spcPts val="0"/>
              </a:spcBef>
              <a:spcAft>
                <a:spcPts val="0"/>
              </a:spcAft>
              <a:buClrTx/>
              <a:buSzTx/>
              <a:tabLst/>
              <a:defRPr/>
            </a:pPr>
            <a:endParaRPr kumimoji="0" lang="en-GB" sz="1400" b="1" i="0" u="sng"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GB" sz="1400" dirty="0">
                <a:solidFill>
                  <a:prstClr val="black"/>
                </a:solidFill>
                <a:latin typeface="Tahoma" panose="020B0604030504040204" pitchFamily="34" charset="0"/>
                <a:ea typeface="Tahoma" panose="020B0604030504040204" pitchFamily="34" charset="0"/>
                <a:cs typeface="Tahoma" panose="020B0604030504040204" pitchFamily="34" charset="0"/>
              </a:rPr>
              <a:t>From 2016-24, Rory Gribbell worked as an education adviser to Prime Ministers, Secretaries of State and Ministers in England. </a:t>
            </a:r>
          </a:p>
          <a:p>
            <a:pPr marR="0" lvl="0" algn="l" defTabSz="914400" rtl="0" eaLnBrk="1" fontAlgn="auto" latinLnBrk="0" hangingPunct="1">
              <a:lnSpc>
                <a:spcPct val="100000"/>
              </a:lnSpc>
              <a:spcBef>
                <a:spcPts val="0"/>
              </a:spcBef>
              <a:spcAft>
                <a:spcPts val="0"/>
              </a:spcAft>
              <a:buClrTx/>
              <a:buSzTx/>
              <a:tabLst/>
              <a:defRPr/>
            </a:pPr>
            <a:endParaRPr kumimoji="0" lang="en-GB" sz="1400" i="0"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GB" sz="1400" dirty="0">
                <a:solidFill>
                  <a:prstClr val="black"/>
                </a:solidFill>
                <a:latin typeface="Tahoma" panose="020B0604030504040204" pitchFamily="34" charset="0"/>
                <a:ea typeface="Tahoma" panose="020B0604030504040204" pitchFamily="34" charset="0"/>
                <a:cs typeface="Tahoma" panose="020B0604030504040204" pitchFamily="34" charset="0"/>
              </a:rPr>
              <a:t>Since January 2024, he has worked as Director of Strategy and Engagement at Ofsted, supporting the design and delivery of Ofsted’s reform strategy in response to the tragic death of Ruth Perry. </a:t>
            </a:r>
          </a:p>
          <a:p>
            <a:pPr marR="0" lvl="0" algn="l" defTabSz="914400" rtl="0" eaLnBrk="1" fontAlgn="auto" latinLnBrk="0" hangingPunct="1">
              <a:lnSpc>
                <a:spcPct val="100000"/>
              </a:lnSpc>
              <a:spcBef>
                <a:spcPts val="0"/>
              </a:spcBef>
              <a:spcAft>
                <a:spcPts val="0"/>
              </a:spcAft>
              <a:buClrTx/>
              <a:buSzTx/>
              <a:tabLst/>
              <a:defRPr/>
            </a:pPr>
            <a:endParaRPr lang="en-GB" sz="14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R="0" lvl="0" algn="l" defTabSz="914400" rtl="0" eaLnBrk="1" fontAlgn="auto" latinLnBrk="0" hangingPunct="1">
              <a:lnSpc>
                <a:spcPct val="100000"/>
              </a:lnSpc>
              <a:spcBef>
                <a:spcPts val="0"/>
              </a:spcBef>
              <a:spcAft>
                <a:spcPts val="0"/>
              </a:spcAft>
              <a:buClrTx/>
              <a:buSzTx/>
              <a:tabLst/>
              <a:defRPr/>
            </a:pPr>
            <a:r>
              <a:rPr lang="en-GB" sz="1400" dirty="0">
                <a:solidFill>
                  <a:prstClr val="black"/>
                </a:solidFill>
                <a:latin typeface="Tahoma" panose="020B0604030504040204" pitchFamily="34" charset="0"/>
                <a:ea typeface="Tahoma" panose="020B0604030504040204" pitchFamily="34" charset="0"/>
                <a:cs typeface="Tahoma" panose="020B0604030504040204" pitchFamily="34" charset="0"/>
              </a:rPr>
              <a:t>Prior to working in government, Rory was a maths teacher, having qualified through the Teach First programme. </a:t>
            </a:r>
          </a:p>
        </p:txBody>
      </p:sp>
      <p:pic>
        <p:nvPicPr>
          <p:cNvPr id="5" name="Picture 4" descr="A person in a suit smiling&#10;&#10;AI-generated content may be incorrect.">
            <a:extLst>
              <a:ext uri="{FF2B5EF4-FFF2-40B4-BE49-F238E27FC236}">
                <a16:creationId xmlns:a16="http://schemas.microsoft.com/office/drawing/2014/main" id="{1EEB2466-4DF4-C625-CD0C-959F3950F4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20819" y="1690688"/>
            <a:ext cx="2338075" cy="3772074"/>
          </a:xfrm>
          <a:prstGeom prst="rect">
            <a:avLst/>
          </a:prstGeom>
        </p:spPr>
      </p:pic>
    </p:spTree>
    <p:extLst>
      <p:ext uri="{BB962C8B-B14F-4D97-AF65-F5344CB8AC3E}">
        <p14:creationId xmlns:p14="http://schemas.microsoft.com/office/powerpoint/2010/main" val="3408838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B03AC-BD42-5150-8A81-AAFD4DDC4D0F}"/>
            </a:ext>
          </a:extLst>
        </p:cNvPr>
        <p:cNvGrpSpPr/>
        <p:nvPr/>
      </p:nvGrpSpPr>
      <p:grpSpPr>
        <a:xfrm>
          <a:off x="0" y="0"/>
          <a:ext cx="0" cy="0"/>
          <a:chOff x="0" y="0"/>
          <a:chExt cx="0" cy="0"/>
        </a:xfrm>
      </p:grpSpPr>
      <p:grpSp>
        <p:nvGrpSpPr>
          <p:cNvPr id="56" name="Group 55">
            <a:extLst>
              <a:ext uri="{FF2B5EF4-FFF2-40B4-BE49-F238E27FC236}">
                <a16:creationId xmlns:a16="http://schemas.microsoft.com/office/drawing/2014/main" id="{33D09995-162C-E60A-48F3-D4710F084A2B}"/>
              </a:ext>
            </a:extLst>
          </p:cNvPr>
          <p:cNvGrpSpPr>
            <a:grpSpLocks noChangeAspect="1"/>
          </p:cNvGrpSpPr>
          <p:nvPr/>
        </p:nvGrpSpPr>
        <p:grpSpPr>
          <a:xfrm>
            <a:off x="891248" y="1171956"/>
            <a:ext cx="799616" cy="798845"/>
            <a:chOff x="5273675" y="2606675"/>
            <a:chExt cx="1646238" cy="1644650"/>
          </a:xfrm>
        </p:grpSpPr>
        <p:sp>
          <p:nvSpPr>
            <p:cNvPr id="57" name="AutoShape 3">
              <a:extLst>
                <a:ext uri="{FF2B5EF4-FFF2-40B4-BE49-F238E27FC236}">
                  <a16:creationId xmlns:a16="http://schemas.microsoft.com/office/drawing/2014/main" id="{2C546572-8C9C-5DC8-EF85-CF113C96681B}"/>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8" name="Group 57">
              <a:extLst>
                <a:ext uri="{FF2B5EF4-FFF2-40B4-BE49-F238E27FC236}">
                  <a16:creationId xmlns:a16="http://schemas.microsoft.com/office/drawing/2014/main" id="{D15126AE-C842-9130-EED2-DC22E9748F69}"/>
                </a:ext>
              </a:extLst>
            </p:cNvPr>
            <p:cNvGrpSpPr/>
            <p:nvPr/>
          </p:nvGrpSpPr>
          <p:grpSpPr>
            <a:xfrm>
              <a:off x="5346302" y="2868613"/>
              <a:ext cx="1504356" cy="1214437"/>
              <a:chOff x="5346302" y="2868613"/>
              <a:chExt cx="1504356" cy="1214437"/>
            </a:xfrm>
          </p:grpSpPr>
          <p:sp>
            <p:nvSpPr>
              <p:cNvPr id="59" name="Freeform 5">
                <a:extLst>
                  <a:ext uri="{FF2B5EF4-FFF2-40B4-BE49-F238E27FC236}">
                    <a16:creationId xmlns:a16="http://schemas.microsoft.com/office/drawing/2014/main" id="{1456D179-9AED-B230-2F91-EBA4E6B01138}"/>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1">
                <a:extLst>
                  <a:ext uri="{FF2B5EF4-FFF2-40B4-BE49-F238E27FC236}">
                    <a16:creationId xmlns:a16="http://schemas.microsoft.com/office/drawing/2014/main" id="{75A4A236-66AC-BE3A-E334-A23F73B6C2CA}"/>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84" name="Title 2">
            <a:extLst>
              <a:ext uri="{FF2B5EF4-FFF2-40B4-BE49-F238E27FC236}">
                <a16:creationId xmlns:a16="http://schemas.microsoft.com/office/drawing/2014/main" id="{1BF0C41B-A60D-58B0-976C-E5E0C0A618D6}"/>
              </a:ext>
            </a:extLst>
          </p:cNvPr>
          <p:cNvSpPr txBox="1">
            <a:spLocks/>
          </p:cNvSpPr>
          <p:nvPr/>
        </p:nvSpPr>
        <p:spPr>
          <a:xfrm>
            <a:off x="522493" y="599002"/>
            <a:ext cx="11339307" cy="656173"/>
          </a:xfrm>
          <a:prstGeom prst="rect">
            <a:avLst/>
          </a:prstGeom>
        </p:spPr>
        <p:txBody>
          <a:bodyPr vert="horz" lIns="36000" tIns="45720" rIns="36000" bIns="0" rtlCol="0" anchor="b">
            <a:noAutofit/>
          </a:bodyPr>
          <a:lstStyle>
            <a:lvl1pPr algn="l" defTabSz="913549" rtl="0" eaLnBrk="1" fontAlgn="base" hangingPunct="1">
              <a:spcBef>
                <a:spcPct val="0"/>
              </a:spcBef>
              <a:spcAft>
                <a:spcPct val="0"/>
              </a:spcAft>
              <a:defRPr lang="en-GB" sz="2400" b="0" dirty="0">
                <a:solidFill>
                  <a:schemeClr val="tx2"/>
                </a:solidFill>
                <a:latin typeface="Trebuchet MS" panose="020B0603020202020204" pitchFamily="34" charset="0"/>
                <a:ea typeface="+mj-ea"/>
                <a:cs typeface="Arial" panose="020B0604020202020204" pitchFamily="34" charset="0"/>
              </a:defRPr>
            </a:lvl1pPr>
            <a:lvl2pPr algn="l" defTabSz="913549" rtl="0" eaLnBrk="1" fontAlgn="base" hangingPunct="1">
              <a:spcBef>
                <a:spcPct val="0"/>
              </a:spcBef>
              <a:spcAft>
                <a:spcPct val="0"/>
              </a:spcAft>
              <a:defRPr sz="1939" b="1">
                <a:solidFill>
                  <a:schemeClr val="tx2"/>
                </a:solidFill>
                <a:latin typeface="Arial" charset="0"/>
              </a:defRPr>
            </a:lvl2pPr>
            <a:lvl3pPr algn="l" defTabSz="913549" rtl="0" eaLnBrk="1" fontAlgn="base" hangingPunct="1">
              <a:spcBef>
                <a:spcPct val="0"/>
              </a:spcBef>
              <a:spcAft>
                <a:spcPct val="0"/>
              </a:spcAft>
              <a:defRPr sz="1939" b="1">
                <a:solidFill>
                  <a:schemeClr val="tx2"/>
                </a:solidFill>
                <a:latin typeface="Arial" charset="0"/>
              </a:defRPr>
            </a:lvl3pPr>
            <a:lvl4pPr algn="l" defTabSz="913549" rtl="0" eaLnBrk="1" fontAlgn="base" hangingPunct="1">
              <a:spcBef>
                <a:spcPct val="0"/>
              </a:spcBef>
              <a:spcAft>
                <a:spcPct val="0"/>
              </a:spcAft>
              <a:defRPr sz="1939" b="1">
                <a:solidFill>
                  <a:schemeClr val="tx2"/>
                </a:solidFill>
                <a:latin typeface="Arial" charset="0"/>
              </a:defRPr>
            </a:lvl4pPr>
            <a:lvl5pPr algn="l" defTabSz="913549" rtl="0" eaLnBrk="1" fontAlgn="base" hangingPunct="1">
              <a:spcBef>
                <a:spcPct val="0"/>
              </a:spcBef>
              <a:spcAft>
                <a:spcPct val="0"/>
              </a:spcAft>
              <a:defRPr sz="1939" b="1">
                <a:solidFill>
                  <a:schemeClr val="tx2"/>
                </a:solidFill>
                <a:latin typeface="Arial" charset="0"/>
              </a:defRPr>
            </a:lvl5pPr>
            <a:lvl6pPr marL="466493" algn="l" defTabSz="913549" rtl="0" eaLnBrk="1" fontAlgn="base" hangingPunct="1">
              <a:spcBef>
                <a:spcPct val="0"/>
              </a:spcBef>
              <a:spcAft>
                <a:spcPct val="0"/>
              </a:spcAft>
              <a:defRPr sz="1939" b="1">
                <a:solidFill>
                  <a:schemeClr val="tx2"/>
                </a:solidFill>
                <a:latin typeface="Arial" charset="0"/>
              </a:defRPr>
            </a:lvl6pPr>
            <a:lvl7pPr marL="932986" algn="l" defTabSz="913549" rtl="0" eaLnBrk="1" fontAlgn="base" hangingPunct="1">
              <a:spcBef>
                <a:spcPct val="0"/>
              </a:spcBef>
              <a:spcAft>
                <a:spcPct val="0"/>
              </a:spcAft>
              <a:defRPr sz="1939" b="1">
                <a:solidFill>
                  <a:schemeClr val="tx2"/>
                </a:solidFill>
                <a:latin typeface="Arial" charset="0"/>
              </a:defRPr>
            </a:lvl7pPr>
            <a:lvl8pPr marL="1399478" algn="l" defTabSz="913549" rtl="0" eaLnBrk="1" fontAlgn="base" hangingPunct="1">
              <a:spcBef>
                <a:spcPct val="0"/>
              </a:spcBef>
              <a:spcAft>
                <a:spcPct val="0"/>
              </a:spcAft>
              <a:defRPr sz="1939" b="1">
                <a:solidFill>
                  <a:schemeClr val="tx2"/>
                </a:solidFill>
                <a:latin typeface="Arial" charset="0"/>
              </a:defRPr>
            </a:lvl8pPr>
            <a:lvl9pPr marL="1865971" algn="l" defTabSz="913549" rtl="0" eaLnBrk="1" fontAlgn="base" hangingPunct="1">
              <a:spcBef>
                <a:spcPct val="0"/>
              </a:spcBef>
              <a:spcAft>
                <a:spcPct val="0"/>
              </a:spcAft>
              <a:defRPr sz="1939" b="1">
                <a:solidFill>
                  <a:schemeClr val="tx2"/>
                </a:solidFill>
                <a:latin typeface="Arial" charset="0"/>
              </a:defRPr>
            </a:lvl9pPr>
          </a:lstStyle>
          <a:p>
            <a:pPr marL="0" marR="0" lvl="0" indent="0" algn="l" defTabSz="913549" rtl="0" eaLnBrk="1" fontAlgn="base" latinLnBrk="0" hangingPunct="1">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rgbClr val="44546A"/>
              </a:solidFill>
              <a:effectLst/>
              <a:uLnTx/>
              <a:uFillTx/>
              <a:latin typeface="Trebuchet MS"/>
              <a:ea typeface="+mj-ea"/>
              <a:cs typeface="Arial"/>
            </a:endParaRPr>
          </a:p>
        </p:txBody>
      </p:sp>
      <p:sp>
        <p:nvSpPr>
          <p:cNvPr id="5" name="Title 11">
            <a:extLst>
              <a:ext uri="{FF2B5EF4-FFF2-40B4-BE49-F238E27FC236}">
                <a16:creationId xmlns:a16="http://schemas.microsoft.com/office/drawing/2014/main" id="{F95DC828-6489-1FA0-51AE-533D576DCE27}"/>
              </a:ext>
            </a:extLst>
          </p:cNvPr>
          <p:cNvSpPr>
            <a:spLocks noGrp="1"/>
          </p:cNvSpPr>
          <p:nvPr>
            <p:ph type="title"/>
          </p:nvPr>
        </p:nvSpPr>
        <p:spPr>
          <a:xfrm>
            <a:off x="461640" y="206537"/>
            <a:ext cx="9299869" cy="1136174"/>
          </a:xfrm>
        </p:spPr>
        <p:txBody>
          <a:bodyPr>
            <a:normAutofit/>
          </a:bodyPr>
          <a:lstStyle/>
          <a:p>
            <a:r>
              <a:rPr lang="en-GB" sz="2600" dirty="0">
                <a:solidFill>
                  <a:schemeClr val="accent5">
                    <a:lumMod val="60000"/>
                    <a:lumOff val="40000"/>
                  </a:schemeClr>
                </a:solidFill>
                <a:latin typeface="Tahoma" panose="020B0604030504040204" pitchFamily="34" charset="0"/>
                <a:ea typeface="Tahoma" panose="020B0604030504040204" pitchFamily="34" charset="0"/>
                <a:cs typeface="Tahoma" panose="020B0604030504040204" pitchFamily="34" charset="0"/>
              </a:rPr>
              <a:t>Introduction:</a:t>
            </a:r>
            <a:r>
              <a:rPr lang="en-GB" sz="3200" dirty="0">
                <a:solidFill>
                  <a:schemeClr val="accent5">
                    <a:lumMod val="60000"/>
                    <a:lumOff val="40000"/>
                  </a:schemeClr>
                </a:solidFill>
                <a:latin typeface="Tahoma" panose="020B0604030504040204" pitchFamily="34" charset="0"/>
                <a:ea typeface="Tahoma" panose="020B0604030504040204" pitchFamily="34" charset="0"/>
                <a:cs typeface="Tahoma" panose="020B0604030504040204" pitchFamily="34" charset="0"/>
              </a:rPr>
              <a:t> </a:t>
            </a:r>
            <a:r>
              <a:rPr lang="en-GB" sz="2600" dirty="0">
                <a:latin typeface="Tahoma" panose="020B0604030504040204" pitchFamily="34" charset="0"/>
                <a:ea typeface="Tahoma" panose="020B0604030504040204" pitchFamily="34" charset="0"/>
                <a:cs typeface="Tahoma" panose="020B0604030504040204" pitchFamily="34" charset="0"/>
              </a:rPr>
              <a:t>Ofsted works across education and care</a:t>
            </a:r>
          </a:p>
        </p:txBody>
      </p:sp>
      <p:sp>
        <p:nvSpPr>
          <p:cNvPr id="7" name="btfpColumnHeaderBoxText838172">
            <a:extLst>
              <a:ext uri="{FF2B5EF4-FFF2-40B4-BE49-F238E27FC236}">
                <a16:creationId xmlns:a16="http://schemas.microsoft.com/office/drawing/2014/main" id="{C1898175-B05D-7E98-F19F-E796CE77C982}"/>
              </a:ext>
            </a:extLst>
          </p:cNvPr>
          <p:cNvSpPr txBox="1"/>
          <p:nvPr>
            <p:custDataLst>
              <p:tags r:id="rId1"/>
            </p:custDataLst>
          </p:nvPr>
        </p:nvSpPr>
        <p:spPr bwMode="gray">
          <a:xfrm>
            <a:off x="350085" y="1946000"/>
            <a:ext cx="1918936" cy="472885"/>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State-Funded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Schools </a:t>
            </a:r>
          </a:p>
        </p:txBody>
      </p:sp>
      <p:sp>
        <p:nvSpPr>
          <p:cNvPr id="8" name="btfpColumnHeaderBoxText838172">
            <a:extLst>
              <a:ext uri="{FF2B5EF4-FFF2-40B4-BE49-F238E27FC236}">
                <a16:creationId xmlns:a16="http://schemas.microsoft.com/office/drawing/2014/main" id="{5EB5883A-DBBF-BA32-3824-7E7F8D81ACF1}"/>
              </a:ext>
            </a:extLst>
          </p:cNvPr>
          <p:cNvSpPr txBox="1"/>
          <p:nvPr>
            <p:custDataLst>
              <p:tags r:id="rId2"/>
            </p:custDataLst>
          </p:nvPr>
        </p:nvSpPr>
        <p:spPr bwMode="gray">
          <a:xfrm>
            <a:off x="9984930" y="2042065"/>
            <a:ext cx="1987332" cy="272831"/>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Early Years </a:t>
            </a:r>
          </a:p>
        </p:txBody>
      </p:sp>
      <p:sp>
        <p:nvSpPr>
          <p:cNvPr id="10" name="btfpColumnHeaderBoxText838172">
            <a:extLst>
              <a:ext uri="{FF2B5EF4-FFF2-40B4-BE49-F238E27FC236}">
                <a16:creationId xmlns:a16="http://schemas.microsoft.com/office/drawing/2014/main" id="{191F6FE5-C6E4-1C6A-425A-3230939462BD}"/>
              </a:ext>
            </a:extLst>
          </p:cNvPr>
          <p:cNvSpPr txBox="1"/>
          <p:nvPr>
            <p:custDataLst>
              <p:tags r:id="rId3"/>
            </p:custDataLst>
          </p:nvPr>
        </p:nvSpPr>
        <p:spPr bwMode="gray">
          <a:xfrm>
            <a:off x="3565508" y="1946000"/>
            <a:ext cx="1918936" cy="472885"/>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Further Education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and Skills </a:t>
            </a:r>
          </a:p>
        </p:txBody>
      </p:sp>
      <p:sp>
        <p:nvSpPr>
          <p:cNvPr id="12" name="btfpColumnHeaderBoxText838172">
            <a:extLst>
              <a:ext uri="{FF2B5EF4-FFF2-40B4-BE49-F238E27FC236}">
                <a16:creationId xmlns:a16="http://schemas.microsoft.com/office/drawing/2014/main" id="{E1B64451-9D17-EEBC-3578-D58240A77367}"/>
              </a:ext>
            </a:extLst>
          </p:cNvPr>
          <p:cNvSpPr txBox="1"/>
          <p:nvPr>
            <p:custDataLst>
              <p:tags r:id="rId4"/>
            </p:custDataLst>
          </p:nvPr>
        </p:nvSpPr>
        <p:spPr bwMode="gray">
          <a:xfrm>
            <a:off x="8432444" y="2030450"/>
            <a:ext cx="1918936" cy="272831"/>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Social Care </a:t>
            </a:r>
          </a:p>
        </p:txBody>
      </p:sp>
      <p:sp>
        <p:nvSpPr>
          <p:cNvPr id="14" name="btfpColumnHeaderBoxText838172">
            <a:extLst>
              <a:ext uri="{FF2B5EF4-FFF2-40B4-BE49-F238E27FC236}">
                <a16:creationId xmlns:a16="http://schemas.microsoft.com/office/drawing/2014/main" id="{67A04BC3-1BC4-9447-6D7E-ADD1E8F75485}"/>
              </a:ext>
            </a:extLst>
          </p:cNvPr>
          <p:cNvSpPr txBox="1"/>
          <p:nvPr>
            <p:custDataLst>
              <p:tags r:id="rId5"/>
            </p:custDataLst>
          </p:nvPr>
        </p:nvSpPr>
        <p:spPr bwMode="gray">
          <a:xfrm>
            <a:off x="5226886" y="1946000"/>
            <a:ext cx="1676352" cy="472885"/>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Teacher Development </a:t>
            </a:r>
          </a:p>
        </p:txBody>
      </p:sp>
      <p:sp>
        <p:nvSpPr>
          <p:cNvPr id="18" name="btfpColumnHeaderBoxText838172">
            <a:extLst>
              <a:ext uri="{FF2B5EF4-FFF2-40B4-BE49-F238E27FC236}">
                <a16:creationId xmlns:a16="http://schemas.microsoft.com/office/drawing/2014/main" id="{31894F0C-5A59-3DEF-646F-C9C9078317A8}"/>
              </a:ext>
            </a:extLst>
          </p:cNvPr>
          <p:cNvSpPr txBox="1"/>
          <p:nvPr>
            <p:custDataLst>
              <p:tags r:id="rId6"/>
            </p:custDataLst>
          </p:nvPr>
        </p:nvSpPr>
        <p:spPr bwMode="gray">
          <a:xfrm>
            <a:off x="6730682" y="2053680"/>
            <a:ext cx="1874593" cy="272831"/>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Area SEND</a:t>
            </a:r>
          </a:p>
        </p:txBody>
      </p:sp>
      <p:sp>
        <p:nvSpPr>
          <p:cNvPr id="20" name="btfpColumnHeaderBoxText838172">
            <a:extLst>
              <a:ext uri="{FF2B5EF4-FFF2-40B4-BE49-F238E27FC236}">
                <a16:creationId xmlns:a16="http://schemas.microsoft.com/office/drawing/2014/main" id="{79D8A37C-C41B-7994-CC23-3B4A9E9367AD}"/>
              </a:ext>
            </a:extLst>
          </p:cNvPr>
          <p:cNvSpPr txBox="1"/>
          <p:nvPr>
            <p:custDataLst>
              <p:tags r:id="rId7"/>
            </p:custDataLst>
          </p:nvPr>
        </p:nvSpPr>
        <p:spPr bwMode="gray">
          <a:xfrm>
            <a:off x="1907789" y="1946000"/>
            <a:ext cx="2061394" cy="472885"/>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Independent</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3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Schools</a:t>
            </a:r>
          </a:p>
        </p:txBody>
      </p:sp>
      <p:sp>
        <p:nvSpPr>
          <p:cNvPr id="21" name="TextBox 20">
            <a:extLst>
              <a:ext uri="{FF2B5EF4-FFF2-40B4-BE49-F238E27FC236}">
                <a16:creationId xmlns:a16="http://schemas.microsoft.com/office/drawing/2014/main" id="{356CBD04-34CD-07BA-5B05-07CE32CB04FC}"/>
              </a:ext>
            </a:extLst>
          </p:cNvPr>
          <p:cNvSpPr txBox="1"/>
          <p:nvPr/>
        </p:nvSpPr>
        <p:spPr bwMode="auto">
          <a:xfrm>
            <a:off x="438203" y="2476272"/>
            <a:ext cx="1584000" cy="629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21,900 school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52 non-maintained special schools </a:t>
            </a:r>
          </a:p>
        </p:txBody>
      </p:sp>
      <p:sp>
        <p:nvSpPr>
          <p:cNvPr id="22" name="TextBox 21">
            <a:extLst>
              <a:ext uri="{FF2B5EF4-FFF2-40B4-BE49-F238E27FC236}">
                <a16:creationId xmlns:a16="http://schemas.microsoft.com/office/drawing/2014/main" id="{02CCE2B1-AD15-C51B-5A45-2E78B12C488B}"/>
              </a:ext>
            </a:extLst>
          </p:cNvPr>
          <p:cNvSpPr txBox="1"/>
          <p:nvPr/>
        </p:nvSpPr>
        <p:spPr bwMode="auto">
          <a:xfrm>
            <a:off x="10186596" y="2476272"/>
            <a:ext cx="1584000" cy="1308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27,100 nurserie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34,700 childminder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6 childminder agencies, with 1,240 childminders on roll</a:t>
            </a:r>
          </a:p>
          <a:p>
            <a:pPr marL="285750" marR="0" lvl="0" indent="-200025" algn="ctr" defTabSz="914400" rtl="0" eaLnBrk="1" fontAlgn="auto" latinLnBrk="0" hangingPunct="1">
              <a:lnSpc>
                <a:spcPct val="90000"/>
              </a:lnSpc>
              <a:spcBef>
                <a:spcPts val="0"/>
              </a:spcBef>
              <a:spcAft>
                <a:spcPts val="700"/>
              </a:spcAft>
              <a:buClr>
                <a:srgbClr val="44546A"/>
              </a:buClr>
              <a:buSzTx/>
              <a:buFont typeface="Arial" panose="020B0604020202020204" pitchFamily="34" charset="0"/>
              <a:buChar char="•"/>
              <a:tabLst/>
              <a:defRPr/>
            </a:pPr>
            <a:endPar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 name="TextBox 22">
            <a:extLst>
              <a:ext uri="{FF2B5EF4-FFF2-40B4-BE49-F238E27FC236}">
                <a16:creationId xmlns:a16="http://schemas.microsoft.com/office/drawing/2014/main" id="{32A1B643-C415-96A7-2E95-C9B352715B8B}"/>
              </a:ext>
            </a:extLst>
          </p:cNvPr>
          <p:cNvSpPr txBox="1"/>
          <p:nvPr/>
        </p:nvSpPr>
        <p:spPr bwMode="auto">
          <a:xfrm>
            <a:off x="3646634" y="2476272"/>
            <a:ext cx="1584000" cy="3141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60 GFE college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44 sixth-form college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40 adult community education provider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270 independent learning provider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70 16-19 academies </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10 HEI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3 specialist FE college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30 independent specialist college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20 prisons </a:t>
            </a:r>
          </a:p>
        </p:txBody>
      </p:sp>
      <p:sp>
        <p:nvSpPr>
          <p:cNvPr id="24" name="TextBox 23">
            <a:extLst>
              <a:ext uri="{FF2B5EF4-FFF2-40B4-BE49-F238E27FC236}">
                <a16:creationId xmlns:a16="http://schemas.microsoft.com/office/drawing/2014/main" id="{C04921CE-A186-5825-84F5-881B9E1A4A8C}"/>
              </a:ext>
            </a:extLst>
          </p:cNvPr>
          <p:cNvSpPr txBox="1"/>
          <p:nvPr/>
        </p:nvSpPr>
        <p:spPr bwMode="auto">
          <a:xfrm>
            <a:off x="8556513" y="2476272"/>
            <a:ext cx="1584000" cy="3959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53 local authoritie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3,480 children’s home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3 secure children’s home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2 secure training centres </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200 boarding settings </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98 residential family centre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400 adoption agencies </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2 residential holiday schemes </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Supported accommodation (new)</a:t>
            </a:r>
          </a:p>
        </p:txBody>
      </p:sp>
      <p:sp>
        <p:nvSpPr>
          <p:cNvPr id="25" name="TextBox 24">
            <a:extLst>
              <a:ext uri="{FF2B5EF4-FFF2-40B4-BE49-F238E27FC236}">
                <a16:creationId xmlns:a16="http://schemas.microsoft.com/office/drawing/2014/main" id="{91F246E0-895F-D974-8F08-7BE39A2A49D0}"/>
              </a:ext>
            </a:extLst>
          </p:cNvPr>
          <p:cNvSpPr txBox="1"/>
          <p:nvPr/>
        </p:nvSpPr>
        <p:spPr bwMode="auto">
          <a:xfrm>
            <a:off x="5257104" y="2476272"/>
            <a:ext cx="1584000" cy="955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79 accredited initial teacher training providers (from September)</a:t>
            </a:r>
          </a:p>
          <a:p>
            <a:pPr marL="85725" marR="0" lvl="0" algn="ctr" defTabSz="914400" rtl="0" eaLnBrk="1" fontAlgn="auto" latinLnBrk="0" hangingPunct="1">
              <a:lnSpc>
                <a:spcPct val="90000"/>
              </a:lnSpc>
              <a:spcBef>
                <a:spcPts val="0"/>
              </a:spcBef>
              <a:spcAft>
                <a:spcPts val="700"/>
              </a:spcAft>
              <a:buClr>
                <a:srgbClr val="44546A"/>
              </a:buClr>
              <a:buSzTx/>
              <a:tabLst/>
              <a:defRPr/>
            </a:pPr>
            <a:r>
              <a:rPr lang="en-GB" sz="1250" kern="0" dirty="0">
                <a:solidFill>
                  <a:prstClr val="black"/>
                </a:solidFill>
                <a:latin typeface="Tahoma" panose="020B0604030504040204" pitchFamily="34" charset="0"/>
                <a:ea typeface="Tahoma" panose="020B0604030504040204" pitchFamily="34" charset="0"/>
                <a:cs typeface="Tahoma" panose="020B0604030504040204" pitchFamily="34" charset="0"/>
              </a:rPr>
              <a:t>9</a:t>
            </a: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ECF/NPQ providers</a:t>
            </a:r>
          </a:p>
        </p:txBody>
      </p:sp>
      <p:sp>
        <p:nvSpPr>
          <p:cNvPr id="26" name="TextBox 25">
            <a:extLst>
              <a:ext uri="{FF2B5EF4-FFF2-40B4-BE49-F238E27FC236}">
                <a16:creationId xmlns:a16="http://schemas.microsoft.com/office/drawing/2014/main" id="{6CE1C4B5-D0C5-E514-1AB5-7C0CB98BDF25}"/>
              </a:ext>
            </a:extLst>
          </p:cNvPr>
          <p:cNvSpPr txBox="1"/>
          <p:nvPr/>
        </p:nvSpPr>
        <p:spPr bwMode="auto">
          <a:xfrm>
            <a:off x="6910587" y="2476272"/>
            <a:ext cx="1584000"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53 local area partnerships </a:t>
            </a:r>
          </a:p>
        </p:txBody>
      </p:sp>
      <p:sp>
        <p:nvSpPr>
          <p:cNvPr id="27" name="TextBox 26">
            <a:extLst>
              <a:ext uri="{FF2B5EF4-FFF2-40B4-BE49-F238E27FC236}">
                <a16:creationId xmlns:a16="http://schemas.microsoft.com/office/drawing/2014/main" id="{250EDB68-0C56-4E85-BD1C-A84A299B328A}"/>
              </a:ext>
            </a:extLst>
          </p:cNvPr>
          <p:cNvSpPr txBox="1"/>
          <p:nvPr/>
        </p:nvSpPr>
        <p:spPr bwMode="auto">
          <a:xfrm>
            <a:off x="2057345" y="2476272"/>
            <a:ext cx="1584000" cy="955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140 non-association independent schools</a:t>
            </a:r>
          </a:p>
          <a:p>
            <a:pPr marL="85725" marR="0" lvl="0" algn="ctr" defTabSz="914400" rtl="0" eaLnBrk="1" fontAlgn="auto" latinLnBrk="0" hangingPunct="1">
              <a:lnSpc>
                <a:spcPct val="90000"/>
              </a:lnSpc>
              <a:spcBef>
                <a:spcPts val="0"/>
              </a:spcBef>
              <a:spcAft>
                <a:spcPts val="700"/>
              </a:spcAft>
              <a:buClr>
                <a:srgbClr val="44546A"/>
              </a:buClr>
              <a:buSzTx/>
              <a:tabLst/>
              <a:defRPr/>
            </a:pPr>
            <a:r>
              <a:rPr kumimoji="0" lang="en-GB" sz="125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Online education providers (new)  </a:t>
            </a:r>
          </a:p>
        </p:txBody>
      </p:sp>
      <p:pic>
        <p:nvPicPr>
          <p:cNvPr id="29" name="Graphic 28" descr="Baby with solid fill">
            <a:extLst>
              <a:ext uri="{FF2B5EF4-FFF2-40B4-BE49-F238E27FC236}">
                <a16:creationId xmlns:a16="http://schemas.microsoft.com/office/drawing/2014/main" id="{39FE8423-5475-33CE-5E13-1F8E46646DA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656441" y="1249223"/>
            <a:ext cx="644310" cy="644310"/>
          </a:xfrm>
          <a:prstGeom prst="rect">
            <a:avLst/>
          </a:prstGeom>
        </p:spPr>
      </p:pic>
      <p:pic>
        <p:nvPicPr>
          <p:cNvPr id="31" name="Graphic 30" descr="Tools with solid fill">
            <a:extLst>
              <a:ext uri="{FF2B5EF4-FFF2-40B4-BE49-F238E27FC236}">
                <a16:creationId xmlns:a16="http://schemas.microsoft.com/office/drawing/2014/main" id="{DA5C930A-08D1-DCE5-6727-AE8387DF7F7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29532" y="1261135"/>
            <a:ext cx="620486" cy="620486"/>
          </a:xfrm>
          <a:prstGeom prst="rect">
            <a:avLst/>
          </a:prstGeom>
        </p:spPr>
      </p:pic>
      <p:pic>
        <p:nvPicPr>
          <p:cNvPr id="33" name="Graphic 32" descr="Family with two children with solid fill">
            <a:extLst>
              <a:ext uri="{FF2B5EF4-FFF2-40B4-BE49-F238E27FC236}">
                <a16:creationId xmlns:a16="http://schemas.microsoft.com/office/drawing/2014/main" id="{B8B769B8-53F7-9D49-5582-CB9F456E4BD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850793" y="1114178"/>
            <a:ext cx="914400" cy="914400"/>
          </a:xfrm>
          <a:prstGeom prst="rect">
            <a:avLst/>
          </a:prstGeom>
        </p:spPr>
      </p:pic>
      <p:pic>
        <p:nvPicPr>
          <p:cNvPr id="35" name="Graphic 34" descr="Classroom with solid fill">
            <a:extLst>
              <a:ext uri="{FF2B5EF4-FFF2-40B4-BE49-F238E27FC236}">
                <a16:creationId xmlns:a16="http://schemas.microsoft.com/office/drawing/2014/main" id="{EEE45128-610F-DA5B-EEC8-EA9EF210E3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41266" y="1213838"/>
            <a:ext cx="715081" cy="715081"/>
          </a:xfrm>
          <a:prstGeom prst="rect">
            <a:avLst/>
          </a:prstGeom>
        </p:spPr>
      </p:pic>
      <p:grpSp>
        <p:nvGrpSpPr>
          <p:cNvPr id="36" name="Group 35">
            <a:extLst>
              <a:ext uri="{FF2B5EF4-FFF2-40B4-BE49-F238E27FC236}">
                <a16:creationId xmlns:a16="http://schemas.microsoft.com/office/drawing/2014/main" id="{4F6120AC-0ED3-5B99-8C3B-05DC7AED79C8}"/>
              </a:ext>
            </a:extLst>
          </p:cNvPr>
          <p:cNvGrpSpPr/>
          <p:nvPr/>
        </p:nvGrpSpPr>
        <p:grpSpPr>
          <a:xfrm>
            <a:off x="7247595" y="1210449"/>
            <a:ext cx="711950" cy="721859"/>
            <a:chOff x="7694486" y="3163533"/>
            <a:chExt cx="1965325" cy="1947862"/>
          </a:xfrm>
        </p:grpSpPr>
        <p:sp>
          <p:nvSpPr>
            <p:cNvPr id="37" name="Freeform 5">
              <a:extLst>
                <a:ext uri="{FF2B5EF4-FFF2-40B4-BE49-F238E27FC236}">
                  <a16:creationId xmlns:a16="http://schemas.microsoft.com/office/drawing/2014/main" id="{3F92B798-71DC-173A-486D-4459106F692B}"/>
                </a:ext>
              </a:extLst>
            </p:cNvPr>
            <p:cNvSpPr>
              <a:spLocks/>
            </p:cNvSpPr>
            <p:nvPr/>
          </p:nvSpPr>
          <p:spPr bwMode="auto">
            <a:xfrm>
              <a:off x="9075611" y="4255733"/>
              <a:ext cx="584200" cy="538163"/>
            </a:xfrm>
            <a:custGeom>
              <a:avLst/>
              <a:gdLst>
                <a:gd name="T0" fmla="*/ 268 w 368"/>
                <a:gd name="T1" fmla="*/ 11 h 339"/>
                <a:gd name="T2" fmla="*/ 270 w 368"/>
                <a:gd name="T3" fmla="*/ 7 h 339"/>
                <a:gd name="T4" fmla="*/ 364 w 368"/>
                <a:gd name="T5" fmla="*/ 83 h 339"/>
                <a:gd name="T6" fmla="*/ 366 w 368"/>
                <a:gd name="T7" fmla="*/ 118 h 339"/>
                <a:gd name="T8" fmla="*/ 359 w 368"/>
                <a:gd name="T9" fmla="*/ 149 h 339"/>
                <a:gd name="T10" fmla="*/ 340 w 368"/>
                <a:gd name="T11" fmla="*/ 193 h 339"/>
                <a:gd name="T12" fmla="*/ 331 w 368"/>
                <a:gd name="T13" fmla="*/ 218 h 339"/>
                <a:gd name="T14" fmla="*/ 312 w 368"/>
                <a:gd name="T15" fmla="*/ 228 h 339"/>
                <a:gd name="T16" fmla="*/ 284 w 368"/>
                <a:gd name="T17" fmla="*/ 232 h 339"/>
                <a:gd name="T18" fmla="*/ 277 w 368"/>
                <a:gd name="T19" fmla="*/ 232 h 339"/>
                <a:gd name="T20" fmla="*/ 282 w 368"/>
                <a:gd name="T21" fmla="*/ 239 h 339"/>
                <a:gd name="T22" fmla="*/ 266 w 368"/>
                <a:gd name="T23" fmla="*/ 237 h 339"/>
                <a:gd name="T24" fmla="*/ 284 w 368"/>
                <a:gd name="T25" fmla="*/ 244 h 339"/>
                <a:gd name="T26" fmla="*/ 282 w 368"/>
                <a:gd name="T27" fmla="*/ 260 h 339"/>
                <a:gd name="T28" fmla="*/ 266 w 368"/>
                <a:gd name="T29" fmla="*/ 276 h 339"/>
                <a:gd name="T30" fmla="*/ 240 w 368"/>
                <a:gd name="T31" fmla="*/ 265 h 339"/>
                <a:gd name="T32" fmla="*/ 226 w 368"/>
                <a:gd name="T33" fmla="*/ 274 h 339"/>
                <a:gd name="T34" fmla="*/ 219 w 368"/>
                <a:gd name="T35" fmla="*/ 283 h 339"/>
                <a:gd name="T36" fmla="*/ 201 w 368"/>
                <a:gd name="T37" fmla="*/ 283 h 339"/>
                <a:gd name="T38" fmla="*/ 210 w 368"/>
                <a:gd name="T39" fmla="*/ 288 h 339"/>
                <a:gd name="T40" fmla="*/ 233 w 368"/>
                <a:gd name="T41" fmla="*/ 288 h 339"/>
                <a:gd name="T42" fmla="*/ 231 w 368"/>
                <a:gd name="T43" fmla="*/ 297 h 339"/>
                <a:gd name="T44" fmla="*/ 224 w 368"/>
                <a:gd name="T45" fmla="*/ 309 h 339"/>
                <a:gd name="T46" fmla="*/ 210 w 368"/>
                <a:gd name="T47" fmla="*/ 327 h 339"/>
                <a:gd name="T48" fmla="*/ 187 w 368"/>
                <a:gd name="T49" fmla="*/ 325 h 339"/>
                <a:gd name="T50" fmla="*/ 182 w 368"/>
                <a:gd name="T51" fmla="*/ 327 h 339"/>
                <a:gd name="T52" fmla="*/ 170 w 368"/>
                <a:gd name="T53" fmla="*/ 327 h 339"/>
                <a:gd name="T54" fmla="*/ 154 w 368"/>
                <a:gd name="T55" fmla="*/ 334 h 339"/>
                <a:gd name="T56" fmla="*/ 145 w 368"/>
                <a:gd name="T57" fmla="*/ 339 h 339"/>
                <a:gd name="T58" fmla="*/ 135 w 368"/>
                <a:gd name="T59" fmla="*/ 334 h 339"/>
                <a:gd name="T60" fmla="*/ 126 w 368"/>
                <a:gd name="T61" fmla="*/ 325 h 339"/>
                <a:gd name="T62" fmla="*/ 140 w 368"/>
                <a:gd name="T63" fmla="*/ 313 h 339"/>
                <a:gd name="T64" fmla="*/ 128 w 368"/>
                <a:gd name="T65" fmla="*/ 295 h 339"/>
                <a:gd name="T66" fmla="*/ 101 w 368"/>
                <a:gd name="T67" fmla="*/ 295 h 339"/>
                <a:gd name="T68" fmla="*/ 96 w 368"/>
                <a:gd name="T69" fmla="*/ 283 h 339"/>
                <a:gd name="T70" fmla="*/ 70 w 368"/>
                <a:gd name="T71" fmla="*/ 281 h 339"/>
                <a:gd name="T72" fmla="*/ 56 w 368"/>
                <a:gd name="T73" fmla="*/ 283 h 339"/>
                <a:gd name="T74" fmla="*/ 31 w 368"/>
                <a:gd name="T75" fmla="*/ 286 h 339"/>
                <a:gd name="T76" fmla="*/ 24 w 368"/>
                <a:gd name="T77" fmla="*/ 279 h 339"/>
                <a:gd name="T78" fmla="*/ 21 w 368"/>
                <a:gd name="T79" fmla="*/ 262 h 339"/>
                <a:gd name="T80" fmla="*/ 19 w 368"/>
                <a:gd name="T81" fmla="*/ 253 h 339"/>
                <a:gd name="T82" fmla="*/ 5 w 368"/>
                <a:gd name="T83" fmla="*/ 237 h 339"/>
                <a:gd name="T84" fmla="*/ 10 w 368"/>
                <a:gd name="T85" fmla="*/ 232 h 339"/>
                <a:gd name="T86" fmla="*/ 28 w 368"/>
                <a:gd name="T87" fmla="*/ 239 h 339"/>
                <a:gd name="T88" fmla="*/ 12 w 368"/>
                <a:gd name="T89" fmla="*/ 218 h 339"/>
                <a:gd name="T90" fmla="*/ 19 w 368"/>
                <a:gd name="T91" fmla="*/ 195 h 339"/>
                <a:gd name="T92" fmla="*/ 24 w 368"/>
                <a:gd name="T93" fmla="*/ 181 h 339"/>
                <a:gd name="T94" fmla="*/ 24 w 368"/>
                <a:gd name="T95" fmla="*/ 153 h 339"/>
                <a:gd name="T96" fmla="*/ 35 w 368"/>
                <a:gd name="T97" fmla="*/ 137 h 339"/>
                <a:gd name="T98" fmla="*/ 47 w 368"/>
                <a:gd name="T99" fmla="*/ 130 h 339"/>
                <a:gd name="T100" fmla="*/ 63 w 368"/>
                <a:gd name="T101" fmla="*/ 111 h 339"/>
                <a:gd name="T102" fmla="*/ 70 w 368"/>
                <a:gd name="T103" fmla="*/ 79 h 339"/>
                <a:gd name="T104" fmla="*/ 63 w 368"/>
                <a:gd name="T105" fmla="*/ 63 h 339"/>
                <a:gd name="T106" fmla="*/ 84 w 368"/>
                <a:gd name="T107" fmla="*/ 53 h 339"/>
                <a:gd name="T108" fmla="*/ 115 w 368"/>
                <a:gd name="T109" fmla="*/ 60 h 339"/>
                <a:gd name="T110" fmla="*/ 135 w 368"/>
                <a:gd name="T111" fmla="*/ 63 h 339"/>
                <a:gd name="T112" fmla="*/ 154 w 368"/>
                <a:gd name="T113" fmla="*/ 49 h 339"/>
                <a:gd name="T114" fmla="*/ 170 w 368"/>
                <a:gd name="T115" fmla="*/ 32 h 339"/>
                <a:gd name="T116" fmla="*/ 184 w 368"/>
                <a:gd name="T117" fmla="*/ 42 h 339"/>
                <a:gd name="T118" fmla="*/ 196 w 368"/>
                <a:gd name="T119" fmla="*/ 21 h 339"/>
                <a:gd name="T120" fmla="*/ 224 w 368"/>
                <a:gd name="T121"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8" h="339">
                  <a:moveTo>
                    <a:pt x="238" y="2"/>
                  </a:moveTo>
                  <a:lnTo>
                    <a:pt x="240" y="2"/>
                  </a:lnTo>
                  <a:lnTo>
                    <a:pt x="252" y="4"/>
                  </a:lnTo>
                  <a:lnTo>
                    <a:pt x="256" y="7"/>
                  </a:lnTo>
                  <a:lnTo>
                    <a:pt x="263" y="9"/>
                  </a:lnTo>
                  <a:lnTo>
                    <a:pt x="268" y="11"/>
                  </a:lnTo>
                  <a:lnTo>
                    <a:pt x="275" y="9"/>
                  </a:lnTo>
                  <a:lnTo>
                    <a:pt x="275" y="9"/>
                  </a:lnTo>
                  <a:lnTo>
                    <a:pt x="273" y="9"/>
                  </a:lnTo>
                  <a:lnTo>
                    <a:pt x="270" y="7"/>
                  </a:lnTo>
                  <a:lnTo>
                    <a:pt x="270" y="7"/>
                  </a:lnTo>
                  <a:lnTo>
                    <a:pt x="270" y="7"/>
                  </a:lnTo>
                  <a:lnTo>
                    <a:pt x="310" y="21"/>
                  </a:lnTo>
                  <a:lnTo>
                    <a:pt x="326" y="32"/>
                  </a:lnTo>
                  <a:lnTo>
                    <a:pt x="357" y="63"/>
                  </a:lnTo>
                  <a:lnTo>
                    <a:pt x="361" y="67"/>
                  </a:lnTo>
                  <a:lnTo>
                    <a:pt x="364" y="72"/>
                  </a:lnTo>
                  <a:lnTo>
                    <a:pt x="364" y="83"/>
                  </a:lnTo>
                  <a:lnTo>
                    <a:pt x="366" y="90"/>
                  </a:lnTo>
                  <a:lnTo>
                    <a:pt x="368" y="97"/>
                  </a:lnTo>
                  <a:lnTo>
                    <a:pt x="366" y="102"/>
                  </a:lnTo>
                  <a:lnTo>
                    <a:pt x="366" y="107"/>
                  </a:lnTo>
                  <a:lnTo>
                    <a:pt x="366" y="109"/>
                  </a:lnTo>
                  <a:lnTo>
                    <a:pt x="366" y="118"/>
                  </a:lnTo>
                  <a:lnTo>
                    <a:pt x="366" y="130"/>
                  </a:lnTo>
                  <a:lnTo>
                    <a:pt x="366" y="132"/>
                  </a:lnTo>
                  <a:lnTo>
                    <a:pt x="364" y="132"/>
                  </a:lnTo>
                  <a:lnTo>
                    <a:pt x="359" y="144"/>
                  </a:lnTo>
                  <a:lnTo>
                    <a:pt x="359" y="146"/>
                  </a:lnTo>
                  <a:lnTo>
                    <a:pt x="359" y="149"/>
                  </a:lnTo>
                  <a:lnTo>
                    <a:pt x="352" y="165"/>
                  </a:lnTo>
                  <a:lnTo>
                    <a:pt x="345" y="172"/>
                  </a:lnTo>
                  <a:lnTo>
                    <a:pt x="345" y="174"/>
                  </a:lnTo>
                  <a:lnTo>
                    <a:pt x="343" y="176"/>
                  </a:lnTo>
                  <a:lnTo>
                    <a:pt x="340" y="181"/>
                  </a:lnTo>
                  <a:lnTo>
                    <a:pt x="340" y="193"/>
                  </a:lnTo>
                  <a:lnTo>
                    <a:pt x="338" y="195"/>
                  </a:lnTo>
                  <a:lnTo>
                    <a:pt x="336" y="204"/>
                  </a:lnTo>
                  <a:lnTo>
                    <a:pt x="336" y="207"/>
                  </a:lnTo>
                  <a:lnTo>
                    <a:pt x="331" y="214"/>
                  </a:lnTo>
                  <a:lnTo>
                    <a:pt x="331" y="216"/>
                  </a:lnTo>
                  <a:lnTo>
                    <a:pt x="331" y="218"/>
                  </a:lnTo>
                  <a:lnTo>
                    <a:pt x="319" y="221"/>
                  </a:lnTo>
                  <a:lnTo>
                    <a:pt x="317" y="223"/>
                  </a:lnTo>
                  <a:lnTo>
                    <a:pt x="315" y="221"/>
                  </a:lnTo>
                  <a:lnTo>
                    <a:pt x="315" y="223"/>
                  </a:lnTo>
                  <a:lnTo>
                    <a:pt x="312" y="225"/>
                  </a:lnTo>
                  <a:lnTo>
                    <a:pt x="312" y="228"/>
                  </a:lnTo>
                  <a:lnTo>
                    <a:pt x="310" y="228"/>
                  </a:lnTo>
                  <a:lnTo>
                    <a:pt x="305" y="232"/>
                  </a:lnTo>
                  <a:lnTo>
                    <a:pt x="296" y="241"/>
                  </a:lnTo>
                  <a:lnTo>
                    <a:pt x="294" y="244"/>
                  </a:lnTo>
                  <a:lnTo>
                    <a:pt x="291" y="246"/>
                  </a:lnTo>
                  <a:lnTo>
                    <a:pt x="284" y="232"/>
                  </a:lnTo>
                  <a:lnTo>
                    <a:pt x="280" y="230"/>
                  </a:lnTo>
                  <a:lnTo>
                    <a:pt x="273" y="223"/>
                  </a:lnTo>
                  <a:lnTo>
                    <a:pt x="270" y="223"/>
                  </a:lnTo>
                  <a:lnTo>
                    <a:pt x="270" y="223"/>
                  </a:lnTo>
                  <a:lnTo>
                    <a:pt x="275" y="230"/>
                  </a:lnTo>
                  <a:lnTo>
                    <a:pt x="277" y="232"/>
                  </a:lnTo>
                  <a:lnTo>
                    <a:pt x="282" y="234"/>
                  </a:lnTo>
                  <a:lnTo>
                    <a:pt x="284" y="234"/>
                  </a:lnTo>
                  <a:lnTo>
                    <a:pt x="284" y="237"/>
                  </a:lnTo>
                  <a:lnTo>
                    <a:pt x="284" y="239"/>
                  </a:lnTo>
                  <a:lnTo>
                    <a:pt x="284" y="241"/>
                  </a:lnTo>
                  <a:lnTo>
                    <a:pt x="282" y="239"/>
                  </a:lnTo>
                  <a:lnTo>
                    <a:pt x="280" y="239"/>
                  </a:lnTo>
                  <a:lnTo>
                    <a:pt x="277" y="239"/>
                  </a:lnTo>
                  <a:lnTo>
                    <a:pt x="275" y="239"/>
                  </a:lnTo>
                  <a:lnTo>
                    <a:pt x="273" y="239"/>
                  </a:lnTo>
                  <a:lnTo>
                    <a:pt x="270" y="237"/>
                  </a:lnTo>
                  <a:lnTo>
                    <a:pt x="266" y="237"/>
                  </a:lnTo>
                  <a:lnTo>
                    <a:pt x="259" y="237"/>
                  </a:lnTo>
                  <a:lnTo>
                    <a:pt x="256" y="237"/>
                  </a:lnTo>
                  <a:lnTo>
                    <a:pt x="256" y="239"/>
                  </a:lnTo>
                  <a:lnTo>
                    <a:pt x="259" y="239"/>
                  </a:lnTo>
                  <a:lnTo>
                    <a:pt x="282" y="244"/>
                  </a:lnTo>
                  <a:lnTo>
                    <a:pt x="284" y="244"/>
                  </a:lnTo>
                  <a:lnTo>
                    <a:pt x="284" y="246"/>
                  </a:lnTo>
                  <a:lnTo>
                    <a:pt x="273" y="258"/>
                  </a:lnTo>
                  <a:lnTo>
                    <a:pt x="273" y="258"/>
                  </a:lnTo>
                  <a:lnTo>
                    <a:pt x="275" y="260"/>
                  </a:lnTo>
                  <a:lnTo>
                    <a:pt x="280" y="262"/>
                  </a:lnTo>
                  <a:lnTo>
                    <a:pt x="282" y="260"/>
                  </a:lnTo>
                  <a:lnTo>
                    <a:pt x="284" y="258"/>
                  </a:lnTo>
                  <a:lnTo>
                    <a:pt x="284" y="258"/>
                  </a:lnTo>
                  <a:lnTo>
                    <a:pt x="284" y="262"/>
                  </a:lnTo>
                  <a:lnTo>
                    <a:pt x="282" y="265"/>
                  </a:lnTo>
                  <a:lnTo>
                    <a:pt x="273" y="272"/>
                  </a:lnTo>
                  <a:lnTo>
                    <a:pt x="266" y="276"/>
                  </a:lnTo>
                  <a:lnTo>
                    <a:pt x="261" y="279"/>
                  </a:lnTo>
                  <a:lnTo>
                    <a:pt x="249" y="279"/>
                  </a:lnTo>
                  <a:lnTo>
                    <a:pt x="247" y="276"/>
                  </a:lnTo>
                  <a:lnTo>
                    <a:pt x="247" y="276"/>
                  </a:lnTo>
                  <a:lnTo>
                    <a:pt x="245" y="272"/>
                  </a:lnTo>
                  <a:lnTo>
                    <a:pt x="240" y="265"/>
                  </a:lnTo>
                  <a:lnTo>
                    <a:pt x="240" y="260"/>
                  </a:lnTo>
                  <a:lnTo>
                    <a:pt x="240" y="265"/>
                  </a:lnTo>
                  <a:lnTo>
                    <a:pt x="238" y="267"/>
                  </a:lnTo>
                  <a:lnTo>
                    <a:pt x="231" y="269"/>
                  </a:lnTo>
                  <a:lnTo>
                    <a:pt x="226" y="274"/>
                  </a:lnTo>
                  <a:lnTo>
                    <a:pt x="226" y="274"/>
                  </a:lnTo>
                  <a:lnTo>
                    <a:pt x="226" y="274"/>
                  </a:lnTo>
                  <a:lnTo>
                    <a:pt x="224" y="276"/>
                  </a:lnTo>
                  <a:lnTo>
                    <a:pt x="224" y="281"/>
                  </a:lnTo>
                  <a:lnTo>
                    <a:pt x="222" y="281"/>
                  </a:lnTo>
                  <a:lnTo>
                    <a:pt x="222" y="281"/>
                  </a:lnTo>
                  <a:lnTo>
                    <a:pt x="219" y="283"/>
                  </a:lnTo>
                  <a:lnTo>
                    <a:pt x="217" y="283"/>
                  </a:lnTo>
                  <a:lnTo>
                    <a:pt x="215" y="283"/>
                  </a:lnTo>
                  <a:lnTo>
                    <a:pt x="212" y="281"/>
                  </a:lnTo>
                  <a:lnTo>
                    <a:pt x="210" y="281"/>
                  </a:lnTo>
                  <a:lnTo>
                    <a:pt x="208" y="281"/>
                  </a:lnTo>
                  <a:lnTo>
                    <a:pt x="201" y="283"/>
                  </a:lnTo>
                  <a:lnTo>
                    <a:pt x="198" y="283"/>
                  </a:lnTo>
                  <a:lnTo>
                    <a:pt x="198" y="286"/>
                  </a:lnTo>
                  <a:lnTo>
                    <a:pt x="203" y="286"/>
                  </a:lnTo>
                  <a:lnTo>
                    <a:pt x="203" y="288"/>
                  </a:lnTo>
                  <a:lnTo>
                    <a:pt x="205" y="290"/>
                  </a:lnTo>
                  <a:lnTo>
                    <a:pt x="210" y="288"/>
                  </a:lnTo>
                  <a:lnTo>
                    <a:pt x="219" y="288"/>
                  </a:lnTo>
                  <a:lnTo>
                    <a:pt x="224" y="286"/>
                  </a:lnTo>
                  <a:lnTo>
                    <a:pt x="229" y="283"/>
                  </a:lnTo>
                  <a:lnTo>
                    <a:pt x="231" y="283"/>
                  </a:lnTo>
                  <a:lnTo>
                    <a:pt x="233" y="286"/>
                  </a:lnTo>
                  <a:lnTo>
                    <a:pt x="233" y="288"/>
                  </a:lnTo>
                  <a:lnTo>
                    <a:pt x="231" y="290"/>
                  </a:lnTo>
                  <a:lnTo>
                    <a:pt x="231" y="290"/>
                  </a:lnTo>
                  <a:lnTo>
                    <a:pt x="231" y="290"/>
                  </a:lnTo>
                  <a:lnTo>
                    <a:pt x="231" y="293"/>
                  </a:lnTo>
                  <a:lnTo>
                    <a:pt x="231" y="295"/>
                  </a:lnTo>
                  <a:lnTo>
                    <a:pt x="231" y="297"/>
                  </a:lnTo>
                  <a:lnTo>
                    <a:pt x="231" y="300"/>
                  </a:lnTo>
                  <a:lnTo>
                    <a:pt x="229" y="300"/>
                  </a:lnTo>
                  <a:lnTo>
                    <a:pt x="229" y="307"/>
                  </a:lnTo>
                  <a:lnTo>
                    <a:pt x="229" y="307"/>
                  </a:lnTo>
                  <a:lnTo>
                    <a:pt x="226" y="309"/>
                  </a:lnTo>
                  <a:lnTo>
                    <a:pt x="224" y="309"/>
                  </a:lnTo>
                  <a:lnTo>
                    <a:pt x="229" y="309"/>
                  </a:lnTo>
                  <a:lnTo>
                    <a:pt x="229" y="311"/>
                  </a:lnTo>
                  <a:lnTo>
                    <a:pt x="231" y="311"/>
                  </a:lnTo>
                  <a:lnTo>
                    <a:pt x="226" y="318"/>
                  </a:lnTo>
                  <a:lnTo>
                    <a:pt x="217" y="323"/>
                  </a:lnTo>
                  <a:lnTo>
                    <a:pt x="210" y="327"/>
                  </a:lnTo>
                  <a:lnTo>
                    <a:pt x="210" y="327"/>
                  </a:lnTo>
                  <a:lnTo>
                    <a:pt x="208" y="327"/>
                  </a:lnTo>
                  <a:lnTo>
                    <a:pt x="203" y="327"/>
                  </a:lnTo>
                  <a:lnTo>
                    <a:pt x="191" y="325"/>
                  </a:lnTo>
                  <a:lnTo>
                    <a:pt x="187" y="325"/>
                  </a:lnTo>
                  <a:lnTo>
                    <a:pt x="187" y="325"/>
                  </a:lnTo>
                  <a:lnTo>
                    <a:pt x="184" y="325"/>
                  </a:lnTo>
                  <a:lnTo>
                    <a:pt x="184" y="325"/>
                  </a:lnTo>
                  <a:lnTo>
                    <a:pt x="184" y="325"/>
                  </a:lnTo>
                  <a:lnTo>
                    <a:pt x="184" y="325"/>
                  </a:lnTo>
                  <a:lnTo>
                    <a:pt x="184" y="325"/>
                  </a:lnTo>
                  <a:lnTo>
                    <a:pt x="182" y="327"/>
                  </a:lnTo>
                  <a:lnTo>
                    <a:pt x="180" y="327"/>
                  </a:lnTo>
                  <a:lnTo>
                    <a:pt x="177" y="327"/>
                  </a:lnTo>
                  <a:lnTo>
                    <a:pt x="175" y="327"/>
                  </a:lnTo>
                  <a:lnTo>
                    <a:pt x="173" y="330"/>
                  </a:lnTo>
                  <a:lnTo>
                    <a:pt x="170" y="327"/>
                  </a:lnTo>
                  <a:lnTo>
                    <a:pt x="170" y="327"/>
                  </a:lnTo>
                  <a:lnTo>
                    <a:pt x="170" y="327"/>
                  </a:lnTo>
                  <a:lnTo>
                    <a:pt x="168" y="327"/>
                  </a:lnTo>
                  <a:lnTo>
                    <a:pt x="156" y="327"/>
                  </a:lnTo>
                  <a:lnTo>
                    <a:pt x="156" y="330"/>
                  </a:lnTo>
                  <a:lnTo>
                    <a:pt x="156" y="332"/>
                  </a:lnTo>
                  <a:lnTo>
                    <a:pt x="154" y="334"/>
                  </a:lnTo>
                  <a:lnTo>
                    <a:pt x="152" y="337"/>
                  </a:lnTo>
                  <a:lnTo>
                    <a:pt x="149" y="337"/>
                  </a:lnTo>
                  <a:lnTo>
                    <a:pt x="147" y="337"/>
                  </a:lnTo>
                  <a:lnTo>
                    <a:pt x="145" y="339"/>
                  </a:lnTo>
                  <a:lnTo>
                    <a:pt x="145" y="339"/>
                  </a:lnTo>
                  <a:lnTo>
                    <a:pt x="145" y="339"/>
                  </a:lnTo>
                  <a:lnTo>
                    <a:pt x="142" y="339"/>
                  </a:lnTo>
                  <a:lnTo>
                    <a:pt x="142" y="339"/>
                  </a:lnTo>
                  <a:lnTo>
                    <a:pt x="138" y="339"/>
                  </a:lnTo>
                  <a:lnTo>
                    <a:pt x="138" y="337"/>
                  </a:lnTo>
                  <a:lnTo>
                    <a:pt x="138" y="334"/>
                  </a:lnTo>
                  <a:lnTo>
                    <a:pt x="135" y="334"/>
                  </a:lnTo>
                  <a:lnTo>
                    <a:pt x="131" y="334"/>
                  </a:lnTo>
                  <a:lnTo>
                    <a:pt x="124" y="332"/>
                  </a:lnTo>
                  <a:lnTo>
                    <a:pt x="121" y="330"/>
                  </a:lnTo>
                  <a:lnTo>
                    <a:pt x="124" y="327"/>
                  </a:lnTo>
                  <a:lnTo>
                    <a:pt x="124" y="327"/>
                  </a:lnTo>
                  <a:lnTo>
                    <a:pt x="126" y="325"/>
                  </a:lnTo>
                  <a:lnTo>
                    <a:pt x="128" y="320"/>
                  </a:lnTo>
                  <a:lnTo>
                    <a:pt x="131" y="323"/>
                  </a:lnTo>
                  <a:lnTo>
                    <a:pt x="133" y="320"/>
                  </a:lnTo>
                  <a:lnTo>
                    <a:pt x="140" y="318"/>
                  </a:lnTo>
                  <a:lnTo>
                    <a:pt x="140" y="313"/>
                  </a:lnTo>
                  <a:lnTo>
                    <a:pt x="140" y="313"/>
                  </a:lnTo>
                  <a:lnTo>
                    <a:pt x="138" y="309"/>
                  </a:lnTo>
                  <a:lnTo>
                    <a:pt x="135" y="307"/>
                  </a:lnTo>
                  <a:lnTo>
                    <a:pt x="133" y="304"/>
                  </a:lnTo>
                  <a:lnTo>
                    <a:pt x="131" y="300"/>
                  </a:lnTo>
                  <a:lnTo>
                    <a:pt x="131" y="297"/>
                  </a:lnTo>
                  <a:lnTo>
                    <a:pt x="128" y="295"/>
                  </a:lnTo>
                  <a:lnTo>
                    <a:pt x="121" y="297"/>
                  </a:lnTo>
                  <a:lnTo>
                    <a:pt x="117" y="297"/>
                  </a:lnTo>
                  <a:lnTo>
                    <a:pt x="112" y="297"/>
                  </a:lnTo>
                  <a:lnTo>
                    <a:pt x="110" y="300"/>
                  </a:lnTo>
                  <a:lnTo>
                    <a:pt x="108" y="300"/>
                  </a:lnTo>
                  <a:lnTo>
                    <a:pt x="101" y="295"/>
                  </a:lnTo>
                  <a:lnTo>
                    <a:pt x="101" y="293"/>
                  </a:lnTo>
                  <a:lnTo>
                    <a:pt x="101" y="290"/>
                  </a:lnTo>
                  <a:lnTo>
                    <a:pt x="98" y="288"/>
                  </a:lnTo>
                  <a:lnTo>
                    <a:pt x="96" y="288"/>
                  </a:lnTo>
                  <a:lnTo>
                    <a:pt x="96" y="286"/>
                  </a:lnTo>
                  <a:lnTo>
                    <a:pt x="96" y="283"/>
                  </a:lnTo>
                  <a:lnTo>
                    <a:pt x="96" y="281"/>
                  </a:lnTo>
                  <a:lnTo>
                    <a:pt x="77" y="276"/>
                  </a:lnTo>
                  <a:lnTo>
                    <a:pt x="75" y="279"/>
                  </a:lnTo>
                  <a:lnTo>
                    <a:pt x="75" y="279"/>
                  </a:lnTo>
                  <a:lnTo>
                    <a:pt x="73" y="281"/>
                  </a:lnTo>
                  <a:lnTo>
                    <a:pt x="70" y="281"/>
                  </a:lnTo>
                  <a:lnTo>
                    <a:pt x="68" y="281"/>
                  </a:lnTo>
                  <a:lnTo>
                    <a:pt x="66" y="279"/>
                  </a:lnTo>
                  <a:lnTo>
                    <a:pt x="66" y="276"/>
                  </a:lnTo>
                  <a:lnTo>
                    <a:pt x="63" y="279"/>
                  </a:lnTo>
                  <a:lnTo>
                    <a:pt x="61" y="283"/>
                  </a:lnTo>
                  <a:lnTo>
                    <a:pt x="56" y="283"/>
                  </a:lnTo>
                  <a:lnTo>
                    <a:pt x="52" y="283"/>
                  </a:lnTo>
                  <a:lnTo>
                    <a:pt x="45" y="288"/>
                  </a:lnTo>
                  <a:lnTo>
                    <a:pt x="40" y="288"/>
                  </a:lnTo>
                  <a:lnTo>
                    <a:pt x="35" y="286"/>
                  </a:lnTo>
                  <a:lnTo>
                    <a:pt x="33" y="288"/>
                  </a:lnTo>
                  <a:lnTo>
                    <a:pt x="31" y="286"/>
                  </a:lnTo>
                  <a:lnTo>
                    <a:pt x="28" y="286"/>
                  </a:lnTo>
                  <a:lnTo>
                    <a:pt x="28" y="290"/>
                  </a:lnTo>
                  <a:lnTo>
                    <a:pt x="26" y="290"/>
                  </a:lnTo>
                  <a:lnTo>
                    <a:pt x="24" y="286"/>
                  </a:lnTo>
                  <a:lnTo>
                    <a:pt x="24" y="283"/>
                  </a:lnTo>
                  <a:lnTo>
                    <a:pt x="24" y="279"/>
                  </a:lnTo>
                  <a:lnTo>
                    <a:pt x="28" y="274"/>
                  </a:lnTo>
                  <a:lnTo>
                    <a:pt x="28" y="272"/>
                  </a:lnTo>
                  <a:lnTo>
                    <a:pt x="28" y="272"/>
                  </a:lnTo>
                  <a:lnTo>
                    <a:pt x="24" y="272"/>
                  </a:lnTo>
                  <a:lnTo>
                    <a:pt x="24" y="267"/>
                  </a:lnTo>
                  <a:lnTo>
                    <a:pt x="21" y="262"/>
                  </a:lnTo>
                  <a:lnTo>
                    <a:pt x="24" y="262"/>
                  </a:lnTo>
                  <a:lnTo>
                    <a:pt x="26" y="260"/>
                  </a:lnTo>
                  <a:lnTo>
                    <a:pt x="26" y="258"/>
                  </a:lnTo>
                  <a:lnTo>
                    <a:pt x="24" y="255"/>
                  </a:lnTo>
                  <a:lnTo>
                    <a:pt x="21" y="258"/>
                  </a:lnTo>
                  <a:lnTo>
                    <a:pt x="19" y="253"/>
                  </a:lnTo>
                  <a:lnTo>
                    <a:pt x="12" y="253"/>
                  </a:lnTo>
                  <a:lnTo>
                    <a:pt x="7" y="248"/>
                  </a:lnTo>
                  <a:lnTo>
                    <a:pt x="7" y="246"/>
                  </a:lnTo>
                  <a:lnTo>
                    <a:pt x="7" y="244"/>
                  </a:lnTo>
                  <a:lnTo>
                    <a:pt x="7" y="241"/>
                  </a:lnTo>
                  <a:lnTo>
                    <a:pt x="5" y="237"/>
                  </a:lnTo>
                  <a:lnTo>
                    <a:pt x="3" y="237"/>
                  </a:lnTo>
                  <a:lnTo>
                    <a:pt x="0" y="232"/>
                  </a:lnTo>
                  <a:lnTo>
                    <a:pt x="5" y="228"/>
                  </a:lnTo>
                  <a:lnTo>
                    <a:pt x="5" y="228"/>
                  </a:lnTo>
                  <a:lnTo>
                    <a:pt x="10" y="230"/>
                  </a:lnTo>
                  <a:lnTo>
                    <a:pt x="10" y="232"/>
                  </a:lnTo>
                  <a:lnTo>
                    <a:pt x="10" y="234"/>
                  </a:lnTo>
                  <a:lnTo>
                    <a:pt x="12" y="237"/>
                  </a:lnTo>
                  <a:lnTo>
                    <a:pt x="17" y="239"/>
                  </a:lnTo>
                  <a:lnTo>
                    <a:pt x="21" y="241"/>
                  </a:lnTo>
                  <a:lnTo>
                    <a:pt x="26" y="237"/>
                  </a:lnTo>
                  <a:lnTo>
                    <a:pt x="28" y="239"/>
                  </a:lnTo>
                  <a:lnTo>
                    <a:pt x="28" y="237"/>
                  </a:lnTo>
                  <a:lnTo>
                    <a:pt x="26" y="234"/>
                  </a:lnTo>
                  <a:lnTo>
                    <a:pt x="26" y="230"/>
                  </a:lnTo>
                  <a:lnTo>
                    <a:pt x="21" y="223"/>
                  </a:lnTo>
                  <a:lnTo>
                    <a:pt x="17" y="223"/>
                  </a:lnTo>
                  <a:lnTo>
                    <a:pt x="12" y="218"/>
                  </a:lnTo>
                  <a:lnTo>
                    <a:pt x="10" y="216"/>
                  </a:lnTo>
                  <a:lnTo>
                    <a:pt x="12" y="209"/>
                  </a:lnTo>
                  <a:lnTo>
                    <a:pt x="14" y="207"/>
                  </a:lnTo>
                  <a:lnTo>
                    <a:pt x="17" y="204"/>
                  </a:lnTo>
                  <a:lnTo>
                    <a:pt x="17" y="197"/>
                  </a:lnTo>
                  <a:lnTo>
                    <a:pt x="19" y="195"/>
                  </a:lnTo>
                  <a:lnTo>
                    <a:pt x="21" y="190"/>
                  </a:lnTo>
                  <a:lnTo>
                    <a:pt x="21" y="188"/>
                  </a:lnTo>
                  <a:lnTo>
                    <a:pt x="19" y="186"/>
                  </a:lnTo>
                  <a:lnTo>
                    <a:pt x="21" y="183"/>
                  </a:lnTo>
                  <a:lnTo>
                    <a:pt x="24" y="183"/>
                  </a:lnTo>
                  <a:lnTo>
                    <a:pt x="24" y="181"/>
                  </a:lnTo>
                  <a:lnTo>
                    <a:pt x="24" y="179"/>
                  </a:lnTo>
                  <a:lnTo>
                    <a:pt x="31" y="176"/>
                  </a:lnTo>
                  <a:lnTo>
                    <a:pt x="31" y="169"/>
                  </a:lnTo>
                  <a:lnTo>
                    <a:pt x="26" y="162"/>
                  </a:lnTo>
                  <a:lnTo>
                    <a:pt x="28" y="158"/>
                  </a:lnTo>
                  <a:lnTo>
                    <a:pt x="24" y="153"/>
                  </a:lnTo>
                  <a:lnTo>
                    <a:pt x="26" y="149"/>
                  </a:lnTo>
                  <a:lnTo>
                    <a:pt x="28" y="142"/>
                  </a:lnTo>
                  <a:lnTo>
                    <a:pt x="26" y="139"/>
                  </a:lnTo>
                  <a:lnTo>
                    <a:pt x="28" y="137"/>
                  </a:lnTo>
                  <a:lnTo>
                    <a:pt x="35" y="137"/>
                  </a:lnTo>
                  <a:lnTo>
                    <a:pt x="35" y="137"/>
                  </a:lnTo>
                  <a:lnTo>
                    <a:pt x="38" y="142"/>
                  </a:lnTo>
                  <a:lnTo>
                    <a:pt x="40" y="142"/>
                  </a:lnTo>
                  <a:lnTo>
                    <a:pt x="42" y="142"/>
                  </a:lnTo>
                  <a:lnTo>
                    <a:pt x="45" y="139"/>
                  </a:lnTo>
                  <a:lnTo>
                    <a:pt x="45" y="135"/>
                  </a:lnTo>
                  <a:lnTo>
                    <a:pt x="47" y="130"/>
                  </a:lnTo>
                  <a:lnTo>
                    <a:pt x="54" y="130"/>
                  </a:lnTo>
                  <a:lnTo>
                    <a:pt x="54" y="128"/>
                  </a:lnTo>
                  <a:lnTo>
                    <a:pt x="52" y="121"/>
                  </a:lnTo>
                  <a:lnTo>
                    <a:pt x="52" y="116"/>
                  </a:lnTo>
                  <a:lnTo>
                    <a:pt x="61" y="114"/>
                  </a:lnTo>
                  <a:lnTo>
                    <a:pt x="63" y="111"/>
                  </a:lnTo>
                  <a:lnTo>
                    <a:pt x="68" y="109"/>
                  </a:lnTo>
                  <a:lnTo>
                    <a:pt x="75" y="102"/>
                  </a:lnTo>
                  <a:lnTo>
                    <a:pt x="75" y="100"/>
                  </a:lnTo>
                  <a:lnTo>
                    <a:pt x="75" y="90"/>
                  </a:lnTo>
                  <a:lnTo>
                    <a:pt x="68" y="86"/>
                  </a:lnTo>
                  <a:lnTo>
                    <a:pt x="70" y="79"/>
                  </a:lnTo>
                  <a:lnTo>
                    <a:pt x="68" y="76"/>
                  </a:lnTo>
                  <a:lnTo>
                    <a:pt x="68" y="74"/>
                  </a:lnTo>
                  <a:lnTo>
                    <a:pt x="68" y="74"/>
                  </a:lnTo>
                  <a:lnTo>
                    <a:pt x="63" y="74"/>
                  </a:lnTo>
                  <a:lnTo>
                    <a:pt x="61" y="72"/>
                  </a:lnTo>
                  <a:lnTo>
                    <a:pt x="63" y="63"/>
                  </a:lnTo>
                  <a:lnTo>
                    <a:pt x="63" y="58"/>
                  </a:lnTo>
                  <a:lnTo>
                    <a:pt x="61" y="56"/>
                  </a:lnTo>
                  <a:lnTo>
                    <a:pt x="63" y="56"/>
                  </a:lnTo>
                  <a:lnTo>
                    <a:pt x="68" y="58"/>
                  </a:lnTo>
                  <a:lnTo>
                    <a:pt x="73" y="58"/>
                  </a:lnTo>
                  <a:lnTo>
                    <a:pt x="84" y="53"/>
                  </a:lnTo>
                  <a:lnTo>
                    <a:pt x="91" y="58"/>
                  </a:lnTo>
                  <a:lnTo>
                    <a:pt x="101" y="58"/>
                  </a:lnTo>
                  <a:lnTo>
                    <a:pt x="103" y="60"/>
                  </a:lnTo>
                  <a:lnTo>
                    <a:pt x="105" y="60"/>
                  </a:lnTo>
                  <a:lnTo>
                    <a:pt x="110" y="63"/>
                  </a:lnTo>
                  <a:lnTo>
                    <a:pt x="115" y="60"/>
                  </a:lnTo>
                  <a:lnTo>
                    <a:pt x="117" y="60"/>
                  </a:lnTo>
                  <a:lnTo>
                    <a:pt x="121" y="60"/>
                  </a:lnTo>
                  <a:lnTo>
                    <a:pt x="121" y="60"/>
                  </a:lnTo>
                  <a:lnTo>
                    <a:pt x="128" y="63"/>
                  </a:lnTo>
                  <a:lnTo>
                    <a:pt x="133" y="63"/>
                  </a:lnTo>
                  <a:lnTo>
                    <a:pt x="135" y="63"/>
                  </a:lnTo>
                  <a:lnTo>
                    <a:pt x="135" y="58"/>
                  </a:lnTo>
                  <a:lnTo>
                    <a:pt x="138" y="51"/>
                  </a:lnTo>
                  <a:lnTo>
                    <a:pt x="138" y="51"/>
                  </a:lnTo>
                  <a:lnTo>
                    <a:pt x="142" y="51"/>
                  </a:lnTo>
                  <a:lnTo>
                    <a:pt x="152" y="49"/>
                  </a:lnTo>
                  <a:lnTo>
                    <a:pt x="154" y="49"/>
                  </a:lnTo>
                  <a:lnTo>
                    <a:pt x="159" y="49"/>
                  </a:lnTo>
                  <a:lnTo>
                    <a:pt x="168" y="44"/>
                  </a:lnTo>
                  <a:lnTo>
                    <a:pt x="170" y="42"/>
                  </a:lnTo>
                  <a:lnTo>
                    <a:pt x="168" y="39"/>
                  </a:lnTo>
                  <a:lnTo>
                    <a:pt x="170" y="32"/>
                  </a:lnTo>
                  <a:lnTo>
                    <a:pt x="170" y="32"/>
                  </a:lnTo>
                  <a:lnTo>
                    <a:pt x="170" y="32"/>
                  </a:lnTo>
                  <a:lnTo>
                    <a:pt x="173" y="32"/>
                  </a:lnTo>
                  <a:lnTo>
                    <a:pt x="177" y="35"/>
                  </a:lnTo>
                  <a:lnTo>
                    <a:pt x="180" y="35"/>
                  </a:lnTo>
                  <a:lnTo>
                    <a:pt x="182" y="42"/>
                  </a:lnTo>
                  <a:lnTo>
                    <a:pt x="184" y="42"/>
                  </a:lnTo>
                  <a:lnTo>
                    <a:pt x="184" y="42"/>
                  </a:lnTo>
                  <a:lnTo>
                    <a:pt x="184" y="37"/>
                  </a:lnTo>
                  <a:lnTo>
                    <a:pt x="187" y="35"/>
                  </a:lnTo>
                  <a:lnTo>
                    <a:pt x="191" y="30"/>
                  </a:lnTo>
                  <a:lnTo>
                    <a:pt x="194" y="28"/>
                  </a:lnTo>
                  <a:lnTo>
                    <a:pt x="196" y="21"/>
                  </a:lnTo>
                  <a:lnTo>
                    <a:pt x="198" y="16"/>
                  </a:lnTo>
                  <a:lnTo>
                    <a:pt x="201" y="11"/>
                  </a:lnTo>
                  <a:lnTo>
                    <a:pt x="203" y="7"/>
                  </a:lnTo>
                  <a:lnTo>
                    <a:pt x="208" y="2"/>
                  </a:lnTo>
                  <a:lnTo>
                    <a:pt x="215" y="0"/>
                  </a:lnTo>
                  <a:lnTo>
                    <a:pt x="224" y="0"/>
                  </a:lnTo>
                  <a:lnTo>
                    <a:pt x="229" y="2"/>
                  </a:lnTo>
                  <a:lnTo>
                    <a:pt x="229" y="0"/>
                  </a:lnTo>
                  <a:lnTo>
                    <a:pt x="231" y="0"/>
                  </a:lnTo>
                  <a:lnTo>
                    <a:pt x="236" y="0"/>
                  </a:lnTo>
                  <a:lnTo>
                    <a:pt x="238" y="2"/>
                  </a:lnTo>
                  <a:close/>
                </a:path>
              </a:pathLst>
            </a:custGeom>
            <a:solidFill>
              <a:srgbClr val="104F75"/>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Freeform 6">
              <a:extLst>
                <a:ext uri="{FF2B5EF4-FFF2-40B4-BE49-F238E27FC236}">
                  <a16:creationId xmlns:a16="http://schemas.microsoft.com/office/drawing/2014/main" id="{8D543B6D-AB8D-DC52-2081-220A451F0126}"/>
                </a:ext>
              </a:extLst>
            </p:cNvPr>
            <p:cNvSpPr>
              <a:spLocks/>
            </p:cNvSpPr>
            <p:nvPr/>
          </p:nvSpPr>
          <p:spPr bwMode="auto">
            <a:xfrm>
              <a:off x="8880348" y="3977920"/>
              <a:ext cx="503238" cy="579438"/>
            </a:xfrm>
            <a:custGeom>
              <a:avLst/>
              <a:gdLst>
                <a:gd name="T0" fmla="*/ 254 w 317"/>
                <a:gd name="T1" fmla="*/ 54 h 365"/>
                <a:gd name="T2" fmla="*/ 263 w 317"/>
                <a:gd name="T3" fmla="*/ 54 h 365"/>
                <a:gd name="T4" fmla="*/ 279 w 317"/>
                <a:gd name="T5" fmla="*/ 42 h 365"/>
                <a:gd name="T6" fmla="*/ 296 w 317"/>
                <a:gd name="T7" fmla="*/ 52 h 365"/>
                <a:gd name="T8" fmla="*/ 300 w 317"/>
                <a:gd name="T9" fmla="*/ 63 h 365"/>
                <a:gd name="T10" fmla="*/ 307 w 317"/>
                <a:gd name="T11" fmla="*/ 80 h 365"/>
                <a:gd name="T12" fmla="*/ 310 w 317"/>
                <a:gd name="T13" fmla="*/ 145 h 365"/>
                <a:gd name="T14" fmla="*/ 284 w 317"/>
                <a:gd name="T15" fmla="*/ 159 h 365"/>
                <a:gd name="T16" fmla="*/ 261 w 317"/>
                <a:gd name="T17" fmla="*/ 184 h 365"/>
                <a:gd name="T18" fmla="*/ 282 w 317"/>
                <a:gd name="T19" fmla="*/ 193 h 365"/>
                <a:gd name="T20" fmla="*/ 293 w 317"/>
                <a:gd name="T21" fmla="*/ 207 h 365"/>
                <a:gd name="T22" fmla="*/ 275 w 317"/>
                <a:gd name="T23" fmla="*/ 224 h 365"/>
                <a:gd name="T24" fmla="*/ 256 w 317"/>
                <a:gd name="T25" fmla="*/ 238 h 365"/>
                <a:gd name="T26" fmla="*/ 233 w 317"/>
                <a:gd name="T27" fmla="*/ 238 h 365"/>
                <a:gd name="T28" fmla="*/ 196 w 317"/>
                <a:gd name="T29" fmla="*/ 233 h 365"/>
                <a:gd name="T30" fmla="*/ 184 w 317"/>
                <a:gd name="T31" fmla="*/ 247 h 365"/>
                <a:gd name="T32" fmla="*/ 191 w 317"/>
                <a:gd name="T33" fmla="*/ 261 h 365"/>
                <a:gd name="T34" fmla="*/ 184 w 317"/>
                <a:gd name="T35" fmla="*/ 289 h 365"/>
                <a:gd name="T36" fmla="*/ 168 w 317"/>
                <a:gd name="T37" fmla="*/ 310 h 365"/>
                <a:gd name="T38" fmla="*/ 158 w 317"/>
                <a:gd name="T39" fmla="*/ 312 h 365"/>
                <a:gd name="T40" fmla="*/ 135 w 317"/>
                <a:gd name="T41" fmla="*/ 333 h 365"/>
                <a:gd name="T42" fmla="*/ 121 w 317"/>
                <a:gd name="T43" fmla="*/ 337 h 365"/>
                <a:gd name="T44" fmla="*/ 119 w 317"/>
                <a:gd name="T45" fmla="*/ 351 h 365"/>
                <a:gd name="T46" fmla="*/ 107 w 317"/>
                <a:gd name="T47" fmla="*/ 361 h 365"/>
                <a:gd name="T48" fmla="*/ 79 w 317"/>
                <a:gd name="T49" fmla="*/ 351 h 365"/>
                <a:gd name="T50" fmla="*/ 70 w 317"/>
                <a:gd name="T51" fmla="*/ 363 h 365"/>
                <a:gd name="T52" fmla="*/ 54 w 317"/>
                <a:gd name="T53" fmla="*/ 349 h 365"/>
                <a:gd name="T54" fmla="*/ 54 w 317"/>
                <a:gd name="T55" fmla="*/ 321 h 365"/>
                <a:gd name="T56" fmla="*/ 63 w 317"/>
                <a:gd name="T57" fmla="*/ 307 h 365"/>
                <a:gd name="T58" fmla="*/ 70 w 317"/>
                <a:gd name="T59" fmla="*/ 289 h 365"/>
                <a:gd name="T60" fmla="*/ 79 w 317"/>
                <a:gd name="T61" fmla="*/ 275 h 365"/>
                <a:gd name="T62" fmla="*/ 54 w 317"/>
                <a:gd name="T63" fmla="*/ 235 h 365"/>
                <a:gd name="T64" fmla="*/ 40 w 317"/>
                <a:gd name="T65" fmla="*/ 210 h 365"/>
                <a:gd name="T66" fmla="*/ 30 w 317"/>
                <a:gd name="T67" fmla="*/ 198 h 365"/>
                <a:gd name="T68" fmla="*/ 33 w 317"/>
                <a:gd name="T69" fmla="*/ 177 h 365"/>
                <a:gd name="T70" fmla="*/ 21 w 317"/>
                <a:gd name="T71" fmla="*/ 156 h 365"/>
                <a:gd name="T72" fmla="*/ 9 w 317"/>
                <a:gd name="T73" fmla="*/ 142 h 365"/>
                <a:gd name="T74" fmla="*/ 23 w 317"/>
                <a:gd name="T75" fmla="*/ 126 h 365"/>
                <a:gd name="T76" fmla="*/ 26 w 317"/>
                <a:gd name="T77" fmla="*/ 103 h 365"/>
                <a:gd name="T78" fmla="*/ 7 w 317"/>
                <a:gd name="T79" fmla="*/ 75 h 365"/>
                <a:gd name="T80" fmla="*/ 2 w 317"/>
                <a:gd name="T81" fmla="*/ 42 h 365"/>
                <a:gd name="T82" fmla="*/ 7 w 317"/>
                <a:gd name="T83" fmla="*/ 26 h 365"/>
                <a:gd name="T84" fmla="*/ 14 w 317"/>
                <a:gd name="T85" fmla="*/ 7 h 365"/>
                <a:gd name="T86" fmla="*/ 35 w 317"/>
                <a:gd name="T87" fmla="*/ 5 h 365"/>
                <a:gd name="T88" fmla="*/ 42 w 317"/>
                <a:gd name="T89" fmla="*/ 31 h 365"/>
                <a:gd name="T90" fmla="*/ 51 w 317"/>
                <a:gd name="T91" fmla="*/ 45 h 365"/>
                <a:gd name="T92" fmla="*/ 54 w 317"/>
                <a:gd name="T93" fmla="*/ 56 h 365"/>
                <a:gd name="T94" fmla="*/ 79 w 317"/>
                <a:gd name="T95" fmla="*/ 59 h 365"/>
                <a:gd name="T96" fmla="*/ 93 w 317"/>
                <a:gd name="T97" fmla="*/ 66 h 365"/>
                <a:gd name="T98" fmla="*/ 103 w 317"/>
                <a:gd name="T99" fmla="*/ 68 h 365"/>
                <a:gd name="T100" fmla="*/ 123 w 317"/>
                <a:gd name="T101" fmla="*/ 56 h 365"/>
                <a:gd name="T102" fmla="*/ 140 w 317"/>
                <a:gd name="T103" fmla="*/ 47 h 365"/>
                <a:gd name="T104" fmla="*/ 154 w 317"/>
                <a:gd name="T105" fmla="*/ 38 h 365"/>
                <a:gd name="T106" fmla="*/ 196 w 317"/>
                <a:gd name="T107" fmla="*/ 33 h 365"/>
                <a:gd name="T108" fmla="*/ 200 w 317"/>
                <a:gd name="T109" fmla="*/ 47 h 365"/>
                <a:gd name="T110" fmla="*/ 224 w 317"/>
                <a:gd name="T111" fmla="*/ 35 h 365"/>
                <a:gd name="T112" fmla="*/ 224 w 317"/>
                <a:gd name="T113" fmla="*/ 24 h 365"/>
                <a:gd name="T114" fmla="*/ 242 w 317"/>
                <a:gd name="T115" fmla="*/ 1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7" h="365">
                  <a:moveTo>
                    <a:pt x="256" y="31"/>
                  </a:moveTo>
                  <a:lnTo>
                    <a:pt x="251" y="35"/>
                  </a:lnTo>
                  <a:lnTo>
                    <a:pt x="251" y="42"/>
                  </a:lnTo>
                  <a:lnTo>
                    <a:pt x="251" y="47"/>
                  </a:lnTo>
                  <a:lnTo>
                    <a:pt x="254" y="52"/>
                  </a:lnTo>
                  <a:lnTo>
                    <a:pt x="254" y="54"/>
                  </a:lnTo>
                  <a:lnTo>
                    <a:pt x="256" y="54"/>
                  </a:lnTo>
                  <a:lnTo>
                    <a:pt x="256" y="56"/>
                  </a:lnTo>
                  <a:lnTo>
                    <a:pt x="261" y="61"/>
                  </a:lnTo>
                  <a:lnTo>
                    <a:pt x="261" y="61"/>
                  </a:lnTo>
                  <a:lnTo>
                    <a:pt x="265" y="59"/>
                  </a:lnTo>
                  <a:lnTo>
                    <a:pt x="263" y="54"/>
                  </a:lnTo>
                  <a:lnTo>
                    <a:pt x="263" y="52"/>
                  </a:lnTo>
                  <a:lnTo>
                    <a:pt x="270" y="42"/>
                  </a:lnTo>
                  <a:lnTo>
                    <a:pt x="272" y="42"/>
                  </a:lnTo>
                  <a:lnTo>
                    <a:pt x="275" y="42"/>
                  </a:lnTo>
                  <a:lnTo>
                    <a:pt x="277" y="42"/>
                  </a:lnTo>
                  <a:lnTo>
                    <a:pt x="279" y="42"/>
                  </a:lnTo>
                  <a:lnTo>
                    <a:pt x="279" y="40"/>
                  </a:lnTo>
                  <a:lnTo>
                    <a:pt x="282" y="40"/>
                  </a:lnTo>
                  <a:lnTo>
                    <a:pt x="282" y="40"/>
                  </a:lnTo>
                  <a:lnTo>
                    <a:pt x="289" y="49"/>
                  </a:lnTo>
                  <a:lnTo>
                    <a:pt x="291" y="52"/>
                  </a:lnTo>
                  <a:lnTo>
                    <a:pt x="296" y="52"/>
                  </a:lnTo>
                  <a:lnTo>
                    <a:pt x="298" y="54"/>
                  </a:lnTo>
                  <a:lnTo>
                    <a:pt x="298" y="56"/>
                  </a:lnTo>
                  <a:lnTo>
                    <a:pt x="298" y="59"/>
                  </a:lnTo>
                  <a:lnTo>
                    <a:pt x="298" y="61"/>
                  </a:lnTo>
                  <a:lnTo>
                    <a:pt x="298" y="63"/>
                  </a:lnTo>
                  <a:lnTo>
                    <a:pt x="300" y="63"/>
                  </a:lnTo>
                  <a:lnTo>
                    <a:pt x="300" y="66"/>
                  </a:lnTo>
                  <a:lnTo>
                    <a:pt x="305" y="68"/>
                  </a:lnTo>
                  <a:lnTo>
                    <a:pt x="303" y="70"/>
                  </a:lnTo>
                  <a:lnTo>
                    <a:pt x="305" y="73"/>
                  </a:lnTo>
                  <a:lnTo>
                    <a:pt x="307" y="75"/>
                  </a:lnTo>
                  <a:lnTo>
                    <a:pt x="307" y="80"/>
                  </a:lnTo>
                  <a:lnTo>
                    <a:pt x="307" y="82"/>
                  </a:lnTo>
                  <a:lnTo>
                    <a:pt x="314" y="114"/>
                  </a:lnTo>
                  <a:lnTo>
                    <a:pt x="317" y="121"/>
                  </a:lnTo>
                  <a:lnTo>
                    <a:pt x="314" y="133"/>
                  </a:lnTo>
                  <a:lnTo>
                    <a:pt x="310" y="145"/>
                  </a:lnTo>
                  <a:lnTo>
                    <a:pt x="310" y="145"/>
                  </a:lnTo>
                  <a:lnTo>
                    <a:pt x="307" y="145"/>
                  </a:lnTo>
                  <a:lnTo>
                    <a:pt x="305" y="145"/>
                  </a:lnTo>
                  <a:lnTo>
                    <a:pt x="303" y="147"/>
                  </a:lnTo>
                  <a:lnTo>
                    <a:pt x="289" y="159"/>
                  </a:lnTo>
                  <a:lnTo>
                    <a:pt x="286" y="159"/>
                  </a:lnTo>
                  <a:lnTo>
                    <a:pt x="284" y="159"/>
                  </a:lnTo>
                  <a:lnTo>
                    <a:pt x="270" y="175"/>
                  </a:lnTo>
                  <a:lnTo>
                    <a:pt x="268" y="177"/>
                  </a:lnTo>
                  <a:lnTo>
                    <a:pt x="265" y="177"/>
                  </a:lnTo>
                  <a:lnTo>
                    <a:pt x="263" y="179"/>
                  </a:lnTo>
                  <a:lnTo>
                    <a:pt x="261" y="182"/>
                  </a:lnTo>
                  <a:lnTo>
                    <a:pt x="261" y="184"/>
                  </a:lnTo>
                  <a:lnTo>
                    <a:pt x="263" y="184"/>
                  </a:lnTo>
                  <a:lnTo>
                    <a:pt x="270" y="184"/>
                  </a:lnTo>
                  <a:lnTo>
                    <a:pt x="272" y="184"/>
                  </a:lnTo>
                  <a:lnTo>
                    <a:pt x="277" y="189"/>
                  </a:lnTo>
                  <a:lnTo>
                    <a:pt x="277" y="189"/>
                  </a:lnTo>
                  <a:lnTo>
                    <a:pt x="282" y="193"/>
                  </a:lnTo>
                  <a:lnTo>
                    <a:pt x="286" y="205"/>
                  </a:lnTo>
                  <a:lnTo>
                    <a:pt x="289" y="210"/>
                  </a:lnTo>
                  <a:lnTo>
                    <a:pt x="291" y="207"/>
                  </a:lnTo>
                  <a:lnTo>
                    <a:pt x="293" y="207"/>
                  </a:lnTo>
                  <a:lnTo>
                    <a:pt x="293" y="207"/>
                  </a:lnTo>
                  <a:lnTo>
                    <a:pt x="293" y="207"/>
                  </a:lnTo>
                  <a:lnTo>
                    <a:pt x="291" y="214"/>
                  </a:lnTo>
                  <a:lnTo>
                    <a:pt x="293" y="217"/>
                  </a:lnTo>
                  <a:lnTo>
                    <a:pt x="291" y="219"/>
                  </a:lnTo>
                  <a:lnTo>
                    <a:pt x="282" y="224"/>
                  </a:lnTo>
                  <a:lnTo>
                    <a:pt x="277" y="224"/>
                  </a:lnTo>
                  <a:lnTo>
                    <a:pt x="275" y="224"/>
                  </a:lnTo>
                  <a:lnTo>
                    <a:pt x="265" y="226"/>
                  </a:lnTo>
                  <a:lnTo>
                    <a:pt x="261" y="226"/>
                  </a:lnTo>
                  <a:lnTo>
                    <a:pt x="261" y="226"/>
                  </a:lnTo>
                  <a:lnTo>
                    <a:pt x="258" y="233"/>
                  </a:lnTo>
                  <a:lnTo>
                    <a:pt x="258" y="238"/>
                  </a:lnTo>
                  <a:lnTo>
                    <a:pt x="256" y="238"/>
                  </a:lnTo>
                  <a:lnTo>
                    <a:pt x="251" y="238"/>
                  </a:lnTo>
                  <a:lnTo>
                    <a:pt x="244" y="235"/>
                  </a:lnTo>
                  <a:lnTo>
                    <a:pt x="244" y="235"/>
                  </a:lnTo>
                  <a:lnTo>
                    <a:pt x="240" y="235"/>
                  </a:lnTo>
                  <a:lnTo>
                    <a:pt x="238" y="235"/>
                  </a:lnTo>
                  <a:lnTo>
                    <a:pt x="233" y="238"/>
                  </a:lnTo>
                  <a:lnTo>
                    <a:pt x="228" y="235"/>
                  </a:lnTo>
                  <a:lnTo>
                    <a:pt x="226" y="235"/>
                  </a:lnTo>
                  <a:lnTo>
                    <a:pt x="224" y="233"/>
                  </a:lnTo>
                  <a:lnTo>
                    <a:pt x="214" y="233"/>
                  </a:lnTo>
                  <a:lnTo>
                    <a:pt x="207" y="228"/>
                  </a:lnTo>
                  <a:lnTo>
                    <a:pt x="196" y="233"/>
                  </a:lnTo>
                  <a:lnTo>
                    <a:pt x="191" y="233"/>
                  </a:lnTo>
                  <a:lnTo>
                    <a:pt x="186" y="231"/>
                  </a:lnTo>
                  <a:lnTo>
                    <a:pt x="184" y="231"/>
                  </a:lnTo>
                  <a:lnTo>
                    <a:pt x="186" y="233"/>
                  </a:lnTo>
                  <a:lnTo>
                    <a:pt x="186" y="238"/>
                  </a:lnTo>
                  <a:lnTo>
                    <a:pt x="184" y="247"/>
                  </a:lnTo>
                  <a:lnTo>
                    <a:pt x="186" y="249"/>
                  </a:lnTo>
                  <a:lnTo>
                    <a:pt x="191" y="249"/>
                  </a:lnTo>
                  <a:lnTo>
                    <a:pt x="191" y="249"/>
                  </a:lnTo>
                  <a:lnTo>
                    <a:pt x="191" y="251"/>
                  </a:lnTo>
                  <a:lnTo>
                    <a:pt x="193" y="254"/>
                  </a:lnTo>
                  <a:lnTo>
                    <a:pt x="191" y="261"/>
                  </a:lnTo>
                  <a:lnTo>
                    <a:pt x="198" y="265"/>
                  </a:lnTo>
                  <a:lnTo>
                    <a:pt x="198" y="275"/>
                  </a:lnTo>
                  <a:lnTo>
                    <a:pt x="198" y="277"/>
                  </a:lnTo>
                  <a:lnTo>
                    <a:pt x="191" y="284"/>
                  </a:lnTo>
                  <a:lnTo>
                    <a:pt x="186" y="286"/>
                  </a:lnTo>
                  <a:lnTo>
                    <a:pt x="184" y="289"/>
                  </a:lnTo>
                  <a:lnTo>
                    <a:pt x="175" y="291"/>
                  </a:lnTo>
                  <a:lnTo>
                    <a:pt x="175" y="296"/>
                  </a:lnTo>
                  <a:lnTo>
                    <a:pt x="177" y="303"/>
                  </a:lnTo>
                  <a:lnTo>
                    <a:pt x="177" y="305"/>
                  </a:lnTo>
                  <a:lnTo>
                    <a:pt x="170" y="305"/>
                  </a:lnTo>
                  <a:lnTo>
                    <a:pt x="168" y="310"/>
                  </a:lnTo>
                  <a:lnTo>
                    <a:pt x="168" y="314"/>
                  </a:lnTo>
                  <a:lnTo>
                    <a:pt x="165" y="317"/>
                  </a:lnTo>
                  <a:lnTo>
                    <a:pt x="163" y="317"/>
                  </a:lnTo>
                  <a:lnTo>
                    <a:pt x="161" y="317"/>
                  </a:lnTo>
                  <a:lnTo>
                    <a:pt x="158" y="312"/>
                  </a:lnTo>
                  <a:lnTo>
                    <a:pt x="158" y="312"/>
                  </a:lnTo>
                  <a:lnTo>
                    <a:pt x="151" y="312"/>
                  </a:lnTo>
                  <a:lnTo>
                    <a:pt x="149" y="314"/>
                  </a:lnTo>
                  <a:lnTo>
                    <a:pt x="151" y="317"/>
                  </a:lnTo>
                  <a:lnTo>
                    <a:pt x="149" y="324"/>
                  </a:lnTo>
                  <a:lnTo>
                    <a:pt x="147" y="328"/>
                  </a:lnTo>
                  <a:lnTo>
                    <a:pt x="135" y="333"/>
                  </a:lnTo>
                  <a:lnTo>
                    <a:pt x="130" y="333"/>
                  </a:lnTo>
                  <a:lnTo>
                    <a:pt x="128" y="335"/>
                  </a:lnTo>
                  <a:lnTo>
                    <a:pt x="123" y="333"/>
                  </a:lnTo>
                  <a:lnTo>
                    <a:pt x="123" y="335"/>
                  </a:lnTo>
                  <a:lnTo>
                    <a:pt x="123" y="337"/>
                  </a:lnTo>
                  <a:lnTo>
                    <a:pt x="121" y="337"/>
                  </a:lnTo>
                  <a:lnTo>
                    <a:pt x="114" y="340"/>
                  </a:lnTo>
                  <a:lnTo>
                    <a:pt x="112" y="342"/>
                  </a:lnTo>
                  <a:lnTo>
                    <a:pt x="114" y="342"/>
                  </a:lnTo>
                  <a:lnTo>
                    <a:pt x="116" y="347"/>
                  </a:lnTo>
                  <a:lnTo>
                    <a:pt x="119" y="351"/>
                  </a:lnTo>
                  <a:lnTo>
                    <a:pt x="119" y="351"/>
                  </a:lnTo>
                  <a:lnTo>
                    <a:pt x="116" y="354"/>
                  </a:lnTo>
                  <a:lnTo>
                    <a:pt x="114" y="354"/>
                  </a:lnTo>
                  <a:lnTo>
                    <a:pt x="114" y="358"/>
                  </a:lnTo>
                  <a:lnTo>
                    <a:pt x="112" y="358"/>
                  </a:lnTo>
                  <a:lnTo>
                    <a:pt x="107" y="361"/>
                  </a:lnTo>
                  <a:lnTo>
                    <a:pt x="107" y="361"/>
                  </a:lnTo>
                  <a:lnTo>
                    <a:pt x="103" y="349"/>
                  </a:lnTo>
                  <a:lnTo>
                    <a:pt x="103" y="347"/>
                  </a:lnTo>
                  <a:lnTo>
                    <a:pt x="96" y="349"/>
                  </a:lnTo>
                  <a:lnTo>
                    <a:pt x="91" y="349"/>
                  </a:lnTo>
                  <a:lnTo>
                    <a:pt x="89" y="351"/>
                  </a:lnTo>
                  <a:lnTo>
                    <a:pt x="79" y="351"/>
                  </a:lnTo>
                  <a:lnTo>
                    <a:pt x="77" y="354"/>
                  </a:lnTo>
                  <a:lnTo>
                    <a:pt x="72" y="356"/>
                  </a:lnTo>
                  <a:lnTo>
                    <a:pt x="77" y="358"/>
                  </a:lnTo>
                  <a:lnTo>
                    <a:pt x="77" y="361"/>
                  </a:lnTo>
                  <a:lnTo>
                    <a:pt x="72" y="363"/>
                  </a:lnTo>
                  <a:lnTo>
                    <a:pt x="70" y="363"/>
                  </a:lnTo>
                  <a:lnTo>
                    <a:pt x="65" y="365"/>
                  </a:lnTo>
                  <a:lnTo>
                    <a:pt x="58" y="363"/>
                  </a:lnTo>
                  <a:lnTo>
                    <a:pt x="56" y="363"/>
                  </a:lnTo>
                  <a:lnTo>
                    <a:pt x="56" y="363"/>
                  </a:lnTo>
                  <a:lnTo>
                    <a:pt x="54" y="351"/>
                  </a:lnTo>
                  <a:lnTo>
                    <a:pt x="54" y="349"/>
                  </a:lnTo>
                  <a:lnTo>
                    <a:pt x="54" y="342"/>
                  </a:lnTo>
                  <a:lnTo>
                    <a:pt x="51" y="340"/>
                  </a:lnTo>
                  <a:lnTo>
                    <a:pt x="58" y="337"/>
                  </a:lnTo>
                  <a:lnTo>
                    <a:pt x="61" y="337"/>
                  </a:lnTo>
                  <a:lnTo>
                    <a:pt x="63" y="337"/>
                  </a:lnTo>
                  <a:lnTo>
                    <a:pt x="54" y="321"/>
                  </a:lnTo>
                  <a:lnTo>
                    <a:pt x="54" y="319"/>
                  </a:lnTo>
                  <a:lnTo>
                    <a:pt x="56" y="317"/>
                  </a:lnTo>
                  <a:lnTo>
                    <a:pt x="65" y="314"/>
                  </a:lnTo>
                  <a:lnTo>
                    <a:pt x="65" y="312"/>
                  </a:lnTo>
                  <a:lnTo>
                    <a:pt x="63" y="307"/>
                  </a:lnTo>
                  <a:lnTo>
                    <a:pt x="63" y="307"/>
                  </a:lnTo>
                  <a:lnTo>
                    <a:pt x="72" y="303"/>
                  </a:lnTo>
                  <a:lnTo>
                    <a:pt x="72" y="298"/>
                  </a:lnTo>
                  <a:lnTo>
                    <a:pt x="70" y="296"/>
                  </a:lnTo>
                  <a:lnTo>
                    <a:pt x="75" y="291"/>
                  </a:lnTo>
                  <a:lnTo>
                    <a:pt x="75" y="291"/>
                  </a:lnTo>
                  <a:lnTo>
                    <a:pt x="70" y="289"/>
                  </a:lnTo>
                  <a:lnTo>
                    <a:pt x="68" y="286"/>
                  </a:lnTo>
                  <a:lnTo>
                    <a:pt x="72" y="284"/>
                  </a:lnTo>
                  <a:lnTo>
                    <a:pt x="79" y="284"/>
                  </a:lnTo>
                  <a:lnTo>
                    <a:pt x="82" y="282"/>
                  </a:lnTo>
                  <a:lnTo>
                    <a:pt x="82" y="279"/>
                  </a:lnTo>
                  <a:lnTo>
                    <a:pt x="79" y="275"/>
                  </a:lnTo>
                  <a:lnTo>
                    <a:pt x="77" y="265"/>
                  </a:lnTo>
                  <a:lnTo>
                    <a:pt x="75" y="263"/>
                  </a:lnTo>
                  <a:lnTo>
                    <a:pt x="68" y="249"/>
                  </a:lnTo>
                  <a:lnTo>
                    <a:pt x="56" y="240"/>
                  </a:lnTo>
                  <a:lnTo>
                    <a:pt x="54" y="238"/>
                  </a:lnTo>
                  <a:lnTo>
                    <a:pt x="54" y="235"/>
                  </a:lnTo>
                  <a:lnTo>
                    <a:pt x="44" y="228"/>
                  </a:lnTo>
                  <a:lnTo>
                    <a:pt x="40" y="224"/>
                  </a:lnTo>
                  <a:lnTo>
                    <a:pt x="37" y="221"/>
                  </a:lnTo>
                  <a:lnTo>
                    <a:pt x="37" y="217"/>
                  </a:lnTo>
                  <a:lnTo>
                    <a:pt x="37" y="212"/>
                  </a:lnTo>
                  <a:lnTo>
                    <a:pt x="40" y="210"/>
                  </a:lnTo>
                  <a:lnTo>
                    <a:pt x="42" y="207"/>
                  </a:lnTo>
                  <a:lnTo>
                    <a:pt x="35" y="200"/>
                  </a:lnTo>
                  <a:lnTo>
                    <a:pt x="35" y="198"/>
                  </a:lnTo>
                  <a:lnTo>
                    <a:pt x="33" y="198"/>
                  </a:lnTo>
                  <a:lnTo>
                    <a:pt x="33" y="196"/>
                  </a:lnTo>
                  <a:lnTo>
                    <a:pt x="30" y="198"/>
                  </a:lnTo>
                  <a:lnTo>
                    <a:pt x="28" y="196"/>
                  </a:lnTo>
                  <a:lnTo>
                    <a:pt x="28" y="191"/>
                  </a:lnTo>
                  <a:lnTo>
                    <a:pt x="23" y="189"/>
                  </a:lnTo>
                  <a:lnTo>
                    <a:pt x="21" y="186"/>
                  </a:lnTo>
                  <a:lnTo>
                    <a:pt x="26" y="179"/>
                  </a:lnTo>
                  <a:lnTo>
                    <a:pt x="33" y="177"/>
                  </a:lnTo>
                  <a:lnTo>
                    <a:pt x="35" y="172"/>
                  </a:lnTo>
                  <a:lnTo>
                    <a:pt x="40" y="170"/>
                  </a:lnTo>
                  <a:lnTo>
                    <a:pt x="37" y="163"/>
                  </a:lnTo>
                  <a:lnTo>
                    <a:pt x="35" y="161"/>
                  </a:lnTo>
                  <a:lnTo>
                    <a:pt x="23" y="159"/>
                  </a:lnTo>
                  <a:lnTo>
                    <a:pt x="21" y="156"/>
                  </a:lnTo>
                  <a:lnTo>
                    <a:pt x="19" y="154"/>
                  </a:lnTo>
                  <a:lnTo>
                    <a:pt x="14" y="152"/>
                  </a:lnTo>
                  <a:lnTo>
                    <a:pt x="14" y="152"/>
                  </a:lnTo>
                  <a:lnTo>
                    <a:pt x="9" y="149"/>
                  </a:lnTo>
                  <a:lnTo>
                    <a:pt x="9" y="147"/>
                  </a:lnTo>
                  <a:lnTo>
                    <a:pt x="9" y="142"/>
                  </a:lnTo>
                  <a:lnTo>
                    <a:pt x="9" y="138"/>
                  </a:lnTo>
                  <a:lnTo>
                    <a:pt x="12" y="138"/>
                  </a:lnTo>
                  <a:lnTo>
                    <a:pt x="12" y="138"/>
                  </a:lnTo>
                  <a:lnTo>
                    <a:pt x="14" y="133"/>
                  </a:lnTo>
                  <a:lnTo>
                    <a:pt x="14" y="131"/>
                  </a:lnTo>
                  <a:lnTo>
                    <a:pt x="23" y="126"/>
                  </a:lnTo>
                  <a:lnTo>
                    <a:pt x="26" y="124"/>
                  </a:lnTo>
                  <a:lnTo>
                    <a:pt x="26" y="119"/>
                  </a:lnTo>
                  <a:lnTo>
                    <a:pt x="23" y="117"/>
                  </a:lnTo>
                  <a:lnTo>
                    <a:pt x="23" y="114"/>
                  </a:lnTo>
                  <a:lnTo>
                    <a:pt x="23" y="107"/>
                  </a:lnTo>
                  <a:lnTo>
                    <a:pt x="26" y="103"/>
                  </a:lnTo>
                  <a:lnTo>
                    <a:pt x="21" y="96"/>
                  </a:lnTo>
                  <a:lnTo>
                    <a:pt x="23" y="91"/>
                  </a:lnTo>
                  <a:lnTo>
                    <a:pt x="23" y="89"/>
                  </a:lnTo>
                  <a:lnTo>
                    <a:pt x="21" y="84"/>
                  </a:lnTo>
                  <a:lnTo>
                    <a:pt x="16" y="82"/>
                  </a:lnTo>
                  <a:lnTo>
                    <a:pt x="7" y="75"/>
                  </a:lnTo>
                  <a:lnTo>
                    <a:pt x="5" y="70"/>
                  </a:lnTo>
                  <a:lnTo>
                    <a:pt x="0" y="73"/>
                  </a:lnTo>
                  <a:lnTo>
                    <a:pt x="2" y="68"/>
                  </a:lnTo>
                  <a:lnTo>
                    <a:pt x="0" y="63"/>
                  </a:lnTo>
                  <a:lnTo>
                    <a:pt x="0" y="59"/>
                  </a:lnTo>
                  <a:lnTo>
                    <a:pt x="2" y="42"/>
                  </a:lnTo>
                  <a:lnTo>
                    <a:pt x="2" y="40"/>
                  </a:lnTo>
                  <a:lnTo>
                    <a:pt x="2" y="35"/>
                  </a:lnTo>
                  <a:lnTo>
                    <a:pt x="2" y="35"/>
                  </a:lnTo>
                  <a:lnTo>
                    <a:pt x="5" y="33"/>
                  </a:lnTo>
                  <a:lnTo>
                    <a:pt x="7" y="28"/>
                  </a:lnTo>
                  <a:lnTo>
                    <a:pt x="7" y="26"/>
                  </a:lnTo>
                  <a:lnTo>
                    <a:pt x="5" y="26"/>
                  </a:lnTo>
                  <a:lnTo>
                    <a:pt x="5" y="24"/>
                  </a:lnTo>
                  <a:lnTo>
                    <a:pt x="5" y="21"/>
                  </a:lnTo>
                  <a:lnTo>
                    <a:pt x="9" y="19"/>
                  </a:lnTo>
                  <a:lnTo>
                    <a:pt x="12" y="12"/>
                  </a:lnTo>
                  <a:lnTo>
                    <a:pt x="14" y="7"/>
                  </a:lnTo>
                  <a:lnTo>
                    <a:pt x="19" y="7"/>
                  </a:lnTo>
                  <a:lnTo>
                    <a:pt x="19" y="7"/>
                  </a:lnTo>
                  <a:lnTo>
                    <a:pt x="21" y="3"/>
                  </a:lnTo>
                  <a:lnTo>
                    <a:pt x="23" y="0"/>
                  </a:lnTo>
                  <a:lnTo>
                    <a:pt x="28" y="0"/>
                  </a:lnTo>
                  <a:lnTo>
                    <a:pt x="35" y="5"/>
                  </a:lnTo>
                  <a:lnTo>
                    <a:pt x="35" y="10"/>
                  </a:lnTo>
                  <a:lnTo>
                    <a:pt x="35" y="14"/>
                  </a:lnTo>
                  <a:lnTo>
                    <a:pt x="37" y="17"/>
                  </a:lnTo>
                  <a:lnTo>
                    <a:pt x="42" y="24"/>
                  </a:lnTo>
                  <a:lnTo>
                    <a:pt x="42" y="28"/>
                  </a:lnTo>
                  <a:lnTo>
                    <a:pt x="42" y="31"/>
                  </a:lnTo>
                  <a:lnTo>
                    <a:pt x="44" y="33"/>
                  </a:lnTo>
                  <a:lnTo>
                    <a:pt x="47" y="38"/>
                  </a:lnTo>
                  <a:lnTo>
                    <a:pt x="49" y="38"/>
                  </a:lnTo>
                  <a:lnTo>
                    <a:pt x="51" y="40"/>
                  </a:lnTo>
                  <a:lnTo>
                    <a:pt x="51" y="42"/>
                  </a:lnTo>
                  <a:lnTo>
                    <a:pt x="51" y="45"/>
                  </a:lnTo>
                  <a:lnTo>
                    <a:pt x="51" y="47"/>
                  </a:lnTo>
                  <a:lnTo>
                    <a:pt x="58" y="52"/>
                  </a:lnTo>
                  <a:lnTo>
                    <a:pt x="58" y="54"/>
                  </a:lnTo>
                  <a:lnTo>
                    <a:pt x="58" y="54"/>
                  </a:lnTo>
                  <a:lnTo>
                    <a:pt x="54" y="56"/>
                  </a:lnTo>
                  <a:lnTo>
                    <a:pt x="54" y="56"/>
                  </a:lnTo>
                  <a:lnTo>
                    <a:pt x="54" y="59"/>
                  </a:lnTo>
                  <a:lnTo>
                    <a:pt x="56" y="59"/>
                  </a:lnTo>
                  <a:lnTo>
                    <a:pt x="61" y="59"/>
                  </a:lnTo>
                  <a:lnTo>
                    <a:pt x="65" y="63"/>
                  </a:lnTo>
                  <a:lnTo>
                    <a:pt x="75" y="61"/>
                  </a:lnTo>
                  <a:lnTo>
                    <a:pt x="79" y="59"/>
                  </a:lnTo>
                  <a:lnTo>
                    <a:pt x="84" y="59"/>
                  </a:lnTo>
                  <a:lnTo>
                    <a:pt x="86" y="59"/>
                  </a:lnTo>
                  <a:lnTo>
                    <a:pt x="86" y="63"/>
                  </a:lnTo>
                  <a:lnTo>
                    <a:pt x="89" y="63"/>
                  </a:lnTo>
                  <a:lnTo>
                    <a:pt x="91" y="66"/>
                  </a:lnTo>
                  <a:lnTo>
                    <a:pt x="93" y="66"/>
                  </a:lnTo>
                  <a:lnTo>
                    <a:pt x="96" y="63"/>
                  </a:lnTo>
                  <a:lnTo>
                    <a:pt x="98" y="61"/>
                  </a:lnTo>
                  <a:lnTo>
                    <a:pt x="100" y="63"/>
                  </a:lnTo>
                  <a:lnTo>
                    <a:pt x="98" y="66"/>
                  </a:lnTo>
                  <a:lnTo>
                    <a:pt x="100" y="66"/>
                  </a:lnTo>
                  <a:lnTo>
                    <a:pt x="103" y="68"/>
                  </a:lnTo>
                  <a:lnTo>
                    <a:pt x="112" y="70"/>
                  </a:lnTo>
                  <a:lnTo>
                    <a:pt x="114" y="68"/>
                  </a:lnTo>
                  <a:lnTo>
                    <a:pt x="119" y="63"/>
                  </a:lnTo>
                  <a:lnTo>
                    <a:pt x="119" y="61"/>
                  </a:lnTo>
                  <a:lnTo>
                    <a:pt x="121" y="59"/>
                  </a:lnTo>
                  <a:lnTo>
                    <a:pt x="123" y="56"/>
                  </a:lnTo>
                  <a:lnTo>
                    <a:pt x="123" y="52"/>
                  </a:lnTo>
                  <a:lnTo>
                    <a:pt x="128" y="47"/>
                  </a:lnTo>
                  <a:lnTo>
                    <a:pt x="130" y="45"/>
                  </a:lnTo>
                  <a:lnTo>
                    <a:pt x="135" y="45"/>
                  </a:lnTo>
                  <a:lnTo>
                    <a:pt x="137" y="47"/>
                  </a:lnTo>
                  <a:lnTo>
                    <a:pt x="140" y="47"/>
                  </a:lnTo>
                  <a:lnTo>
                    <a:pt x="144" y="42"/>
                  </a:lnTo>
                  <a:lnTo>
                    <a:pt x="147" y="35"/>
                  </a:lnTo>
                  <a:lnTo>
                    <a:pt x="154" y="31"/>
                  </a:lnTo>
                  <a:lnTo>
                    <a:pt x="156" y="35"/>
                  </a:lnTo>
                  <a:lnTo>
                    <a:pt x="156" y="35"/>
                  </a:lnTo>
                  <a:lnTo>
                    <a:pt x="154" y="38"/>
                  </a:lnTo>
                  <a:lnTo>
                    <a:pt x="154" y="38"/>
                  </a:lnTo>
                  <a:lnTo>
                    <a:pt x="168" y="42"/>
                  </a:lnTo>
                  <a:lnTo>
                    <a:pt x="172" y="38"/>
                  </a:lnTo>
                  <a:lnTo>
                    <a:pt x="177" y="35"/>
                  </a:lnTo>
                  <a:lnTo>
                    <a:pt x="179" y="28"/>
                  </a:lnTo>
                  <a:lnTo>
                    <a:pt x="196" y="33"/>
                  </a:lnTo>
                  <a:lnTo>
                    <a:pt x="196" y="35"/>
                  </a:lnTo>
                  <a:lnTo>
                    <a:pt x="196" y="38"/>
                  </a:lnTo>
                  <a:lnTo>
                    <a:pt x="193" y="42"/>
                  </a:lnTo>
                  <a:lnTo>
                    <a:pt x="193" y="45"/>
                  </a:lnTo>
                  <a:lnTo>
                    <a:pt x="196" y="45"/>
                  </a:lnTo>
                  <a:lnTo>
                    <a:pt x="200" y="47"/>
                  </a:lnTo>
                  <a:lnTo>
                    <a:pt x="207" y="45"/>
                  </a:lnTo>
                  <a:lnTo>
                    <a:pt x="214" y="42"/>
                  </a:lnTo>
                  <a:lnTo>
                    <a:pt x="214" y="42"/>
                  </a:lnTo>
                  <a:lnTo>
                    <a:pt x="214" y="40"/>
                  </a:lnTo>
                  <a:lnTo>
                    <a:pt x="217" y="35"/>
                  </a:lnTo>
                  <a:lnTo>
                    <a:pt x="224" y="35"/>
                  </a:lnTo>
                  <a:lnTo>
                    <a:pt x="226" y="35"/>
                  </a:lnTo>
                  <a:lnTo>
                    <a:pt x="226" y="33"/>
                  </a:lnTo>
                  <a:lnTo>
                    <a:pt x="224" y="31"/>
                  </a:lnTo>
                  <a:lnTo>
                    <a:pt x="214" y="28"/>
                  </a:lnTo>
                  <a:lnTo>
                    <a:pt x="214" y="28"/>
                  </a:lnTo>
                  <a:lnTo>
                    <a:pt x="224" y="24"/>
                  </a:lnTo>
                  <a:lnTo>
                    <a:pt x="231" y="26"/>
                  </a:lnTo>
                  <a:lnTo>
                    <a:pt x="235" y="26"/>
                  </a:lnTo>
                  <a:lnTo>
                    <a:pt x="240" y="21"/>
                  </a:lnTo>
                  <a:lnTo>
                    <a:pt x="242" y="17"/>
                  </a:lnTo>
                  <a:lnTo>
                    <a:pt x="242" y="17"/>
                  </a:lnTo>
                  <a:lnTo>
                    <a:pt x="242" y="17"/>
                  </a:lnTo>
                  <a:lnTo>
                    <a:pt x="249" y="21"/>
                  </a:lnTo>
                  <a:lnTo>
                    <a:pt x="251" y="26"/>
                  </a:lnTo>
                  <a:lnTo>
                    <a:pt x="256" y="28"/>
                  </a:lnTo>
                  <a:lnTo>
                    <a:pt x="256" y="31"/>
                  </a:lnTo>
                  <a:close/>
                </a:path>
              </a:pathLst>
            </a:custGeom>
            <a:solidFill>
              <a:srgbClr val="104F75"/>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9" name="Freeform 9">
              <a:extLst>
                <a:ext uri="{FF2B5EF4-FFF2-40B4-BE49-F238E27FC236}">
                  <a16:creationId xmlns:a16="http://schemas.microsoft.com/office/drawing/2014/main" id="{52B01A2E-A8E0-3662-3BF3-DD3DFE705E4A}"/>
                </a:ext>
              </a:extLst>
            </p:cNvPr>
            <p:cNvSpPr>
              <a:spLocks/>
            </p:cNvSpPr>
            <p:nvPr/>
          </p:nvSpPr>
          <p:spPr bwMode="auto">
            <a:xfrm>
              <a:off x="9108948" y="4693883"/>
              <a:ext cx="188913" cy="152400"/>
            </a:xfrm>
            <a:custGeom>
              <a:avLst/>
              <a:gdLst>
                <a:gd name="T0" fmla="*/ 75 w 119"/>
                <a:gd name="T1" fmla="*/ 10 h 96"/>
                <a:gd name="T2" fmla="*/ 77 w 119"/>
                <a:gd name="T3" fmla="*/ 12 h 96"/>
                <a:gd name="T4" fmla="*/ 80 w 119"/>
                <a:gd name="T5" fmla="*/ 17 h 96"/>
                <a:gd name="T6" fmla="*/ 87 w 119"/>
                <a:gd name="T7" fmla="*/ 24 h 96"/>
                <a:gd name="T8" fmla="*/ 91 w 119"/>
                <a:gd name="T9" fmla="*/ 21 h 96"/>
                <a:gd name="T10" fmla="*/ 100 w 119"/>
                <a:gd name="T11" fmla="*/ 21 h 96"/>
                <a:gd name="T12" fmla="*/ 110 w 119"/>
                <a:gd name="T13" fmla="*/ 21 h 96"/>
                <a:gd name="T14" fmla="*/ 112 w 119"/>
                <a:gd name="T15" fmla="*/ 28 h 96"/>
                <a:gd name="T16" fmla="*/ 117 w 119"/>
                <a:gd name="T17" fmla="*/ 33 h 96"/>
                <a:gd name="T18" fmla="*/ 119 w 119"/>
                <a:gd name="T19" fmla="*/ 37 h 96"/>
                <a:gd name="T20" fmla="*/ 112 w 119"/>
                <a:gd name="T21" fmla="*/ 44 h 96"/>
                <a:gd name="T22" fmla="*/ 107 w 119"/>
                <a:gd name="T23" fmla="*/ 44 h 96"/>
                <a:gd name="T24" fmla="*/ 103 w 119"/>
                <a:gd name="T25" fmla="*/ 51 h 96"/>
                <a:gd name="T26" fmla="*/ 100 w 119"/>
                <a:gd name="T27" fmla="*/ 54 h 96"/>
                <a:gd name="T28" fmla="*/ 100 w 119"/>
                <a:gd name="T29" fmla="*/ 58 h 96"/>
                <a:gd name="T30" fmla="*/ 91 w 119"/>
                <a:gd name="T31" fmla="*/ 65 h 96"/>
                <a:gd name="T32" fmla="*/ 91 w 119"/>
                <a:gd name="T33" fmla="*/ 72 h 96"/>
                <a:gd name="T34" fmla="*/ 87 w 119"/>
                <a:gd name="T35" fmla="*/ 84 h 96"/>
                <a:gd name="T36" fmla="*/ 80 w 119"/>
                <a:gd name="T37" fmla="*/ 89 h 96"/>
                <a:gd name="T38" fmla="*/ 75 w 119"/>
                <a:gd name="T39" fmla="*/ 96 h 96"/>
                <a:gd name="T40" fmla="*/ 73 w 119"/>
                <a:gd name="T41" fmla="*/ 91 h 96"/>
                <a:gd name="T42" fmla="*/ 68 w 119"/>
                <a:gd name="T43" fmla="*/ 86 h 96"/>
                <a:gd name="T44" fmla="*/ 66 w 119"/>
                <a:gd name="T45" fmla="*/ 84 h 96"/>
                <a:gd name="T46" fmla="*/ 59 w 119"/>
                <a:gd name="T47" fmla="*/ 86 h 96"/>
                <a:gd name="T48" fmla="*/ 54 w 119"/>
                <a:gd name="T49" fmla="*/ 86 h 96"/>
                <a:gd name="T50" fmla="*/ 47 w 119"/>
                <a:gd name="T51" fmla="*/ 89 h 96"/>
                <a:gd name="T52" fmla="*/ 42 w 119"/>
                <a:gd name="T53" fmla="*/ 82 h 96"/>
                <a:gd name="T54" fmla="*/ 40 w 119"/>
                <a:gd name="T55" fmla="*/ 77 h 96"/>
                <a:gd name="T56" fmla="*/ 38 w 119"/>
                <a:gd name="T57" fmla="*/ 72 h 96"/>
                <a:gd name="T58" fmla="*/ 31 w 119"/>
                <a:gd name="T59" fmla="*/ 70 h 96"/>
                <a:gd name="T60" fmla="*/ 21 w 119"/>
                <a:gd name="T61" fmla="*/ 77 h 96"/>
                <a:gd name="T62" fmla="*/ 26 w 119"/>
                <a:gd name="T63" fmla="*/ 68 h 96"/>
                <a:gd name="T64" fmla="*/ 24 w 119"/>
                <a:gd name="T65" fmla="*/ 63 h 96"/>
                <a:gd name="T66" fmla="*/ 19 w 119"/>
                <a:gd name="T67" fmla="*/ 61 h 96"/>
                <a:gd name="T68" fmla="*/ 17 w 119"/>
                <a:gd name="T69" fmla="*/ 56 h 96"/>
                <a:gd name="T70" fmla="*/ 14 w 119"/>
                <a:gd name="T71" fmla="*/ 54 h 96"/>
                <a:gd name="T72" fmla="*/ 7 w 119"/>
                <a:gd name="T73" fmla="*/ 49 h 96"/>
                <a:gd name="T74" fmla="*/ 5 w 119"/>
                <a:gd name="T75" fmla="*/ 44 h 96"/>
                <a:gd name="T76" fmla="*/ 3 w 119"/>
                <a:gd name="T77" fmla="*/ 37 h 96"/>
                <a:gd name="T78" fmla="*/ 5 w 119"/>
                <a:gd name="T79" fmla="*/ 14 h 96"/>
                <a:gd name="T80" fmla="*/ 7 w 119"/>
                <a:gd name="T81" fmla="*/ 10 h 96"/>
                <a:gd name="T82" fmla="*/ 12 w 119"/>
                <a:gd name="T83" fmla="*/ 12 h 96"/>
                <a:gd name="T84" fmla="*/ 19 w 119"/>
                <a:gd name="T85" fmla="*/ 12 h 96"/>
                <a:gd name="T86" fmla="*/ 31 w 119"/>
                <a:gd name="T87" fmla="*/ 7 h 96"/>
                <a:gd name="T88" fmla="*/ 40 w 119"/>
                <a:gd name="T89" fmla="*/ 7 h 96"/>
                <a:gd name="T90" fmla="*/ 45 w 119"/>
                <a:gd name="T91" fmla="*/ 0 h 96"/>
                <a:gd name="T92" fmla="*/ 47 w 119"/>
                <a:gd name="T93" fmla="*/ 5 h 96"/>
                <a:gd name="T94" fmla="*/ 52 w 119"/>
                <a:gd name="T95" fmla="*/ 5 h 96"/>
                <a:gd name="T96" fmla="*/ 54 w 119"/>
                <a:gd name="T97" fmla="*/ 3 h 96"/>
                <a:gd name="T98" fmla="*/ 75 w 119"/>
                <a:gd name="T99" fmla="*/ 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9" h="96">
                  <a:moveTo>
                    <a:pt x="75" y="7"/>
                  </a:moveTo>
                  <a:lnTo>
                    <a:pt x="75" y="10"/>
                  </a:lnTo>
                  <a:lnTo>
                    <a:pt x="75" y="12"/>
                  </a:lnTo>
                  <a:lnTo>
                    <a:pt x="77" y="12"/>
                  </a:lnTo>
                  <a:lnTo>
                    <a:pt x="80" y="14"/>
                  </a:lnTo>
                  <a:lnTo>
                    <a:pt x="80" y="17"/>
                  </a:lnTo>
                  <a:lnTo>
                    <a:pt x="80" y="19"/>
                  </a:lnTo>
                  <a:lnTo>
                    <a:pt x="87" y="24"/>
                  </a:lnTo>
                  <a:lnTo>
                    <a:pt x="89" y="24"/>
                  </a:lnTo>
                  <a:lnTo>
                    <a:pt x="91" y="21"/>
                  </a:lnTo>
                  <a:lnTo>
                    <a:pt x="96" y="21"/>
                  </a:lnTo>
                  <a:lnTo>
                    <a:pt x="100" y="21"/>
                  </a:lnTo>
                  <a:lnTo>
                    <a:pt x="107" y="19"/>
                  </a:lnTo>
                  <a:lnTo>
                    <a:pt x="110" y="21"/>
                  </a:lnTo>
                  <a:lnTo>
                    <a:pt x="110" y="24"/>
                  </a:lnTo>
                  <a:lnTo>
                    <a:pt x="112" y="28"/>
                  </a:lnTo>
                  <a:lnTo>
                    <a:pt x="114" y="31"/>
                  </a:lnTo>
                  <a:lnTo>
                    <a:pt x="117" y="33"/>
                  </a:lnTo>
                  <a:lnTo>
                    <a:pt x="119" y="37"/>
                  </a:lnTo>
                  <a:lnTo>
                    <a:pt x="119" y="37"/>
                  </a:lnTo>
                  <a:lnTo>
                    <a:pt x="119" y="42"/>
                  </a:lnTo>
                  <a:lnTo>
                    <a:pt x="112" y="44"/>
                  </a:lnTo>
                  <a:lnTo>
                    <a:pt x="110" y="47"/>
                  </a:lnTo>
                  <a:lnTo>
                    <a:pt x="107" y="44"/>
                  </a:lnTo>
                  <a:lnTo>
                    <a:pt x="105" y="49"/>
                  </a:lnTo>
                  <a:lnTo>
                    <a:pt x="103" y="51"/>
                  </a:lnTo>
                  <a:lnTo>
                    <a:pt x="103" y="51"/>
                  </a:lnTo>
                  <a:lnTo>
                    <a:pt x="100" y="54"/>
                  </a:lnTo>
                  <a:lnTo>
                    <a:pt x="103" y="56"/>
                  </a:lnTo>
                  <a:lnTo>
                    <a:pt x="100" y="58"/>
                  </a:lnTo>
                  <a:lnTo>
                    <a:pt x="96" y="63"/>
                  </a:lnTo>
                  <a:lnTo>
                    <a:pt x="91" y="65"/>
                  </a:lnTo>
                  <a:lnTo>
                    <a:pt x="91" y="70"/>
                  </a:lnTo>
                  <a:lnTo>
                    <a:pt x="91" y="72"/>
                  </a:lnTo>
                  <a:lnTo>
                    <a:pt x="89" y="79"/>
                  </a:lnTo>
                  <a:lnTo>
                    <a:pt x="87" y="84"/>
                  </a:lnTo>
                  <a:lnTo>
                    <a:pt x="84" y="86"/>
                  </a:lnTo>
                  <a:lnTo>
                    <a:pt x="80" y="89"/>
                  </a:lnTo>
                  <a:lnTo>
                    <a:pt x="80" y="93"/>
                  </a:lnTo>
                  <a:lnTo>
                    <a:pt x="75" y="96"/>
                  </a:lnTo>
                  <a:lnTo>
                    <a:pt x="73" y="93"/>
                  </a:lnTo>
                  <a:lnTo>
                    <a:pt x="73" y="91"/>
                  </a:lnTo>
                  <a:lnTo>
                    <a:pt x="68" y="93"/>
                  </a:lnTo>
                  <a:lnTo>
                    <a:pt x="68" y="86"/>
                  </a:lnTo>
                  <a:lnTo>
                    <a:pt x="68" y="86"/>
                  </a:lnTo>
                  <a:lnTo>
                    <a:pt x="66" y="84"/>
                  </a:lnTo>
                  <a:lnTo>
                    <a:pt x="63" y="82"/>
                  </a:lnTo>
                  <a:lnTo>
                    <a:pt x="59" y="86"/>
                  </a:lnTo>
                  <a:lnTo>
                    <a:pt x="56" y="84"/>
                  </a:lnTo>
                  <a:lnTo>
                    <a:pt x="54" y="86"/>
                  </a:lnTo>
                  <a:lnTo>
                    <a:pt x="52" y="89"/>
                  </a:lnTo>
                  <a:lnTo>
                    <a:pt x="47" y="89"/>
                  </a:lnTo>
                  <a:lnTo>
                    <a:pt x="45" y="86"/>
                  </a:lnTo>
                  <a:lnTo>
                    <a:pt x="42" y="82"/>
                  </a:lnTo>
                  <a:lnTo>
                    <a:pt x="42" y="77"/>
                  </a:lnTo>
                  <a:lnTo>
                    <a:pt x="40" y="77"/>
                  </a:lnTo>
                  <a:lnTo>
                    <a:pt x="35" y="79"/>
                  </a:lnTo>
                  <a:lnTo>
                    <a:pt x="38" y="72"/>
                  </a:lnTo>
                  <a:lnTo>
                    <a:pt x="33" y="68"/>
                  </a:lnTo>
                  <a:lnTo>
                    <a:pt x="31" y="70"/>
                  </a:lnTo>
                  <a:lnTo>
                    <a:pt x="26" y="77"/>
                  </a:lnTo>
                  <a:lnTo>
                    <a:pt x="21" y="77"/>
                  </a:lnTo>
                  <a:lnTo>
                    <a:pt x="24" y="72"/>
                  </a:lnTo>
                  <a:lnTo>
                    <a:pt x="26" y="68"/>
                  </a:lnTo>
                  <a:lnTo>
                    <a:pt x="26" y="65"/>
                  </a:lnTo>
                  <a:lnTo>
                    <a:pt x="24" y="63"/>
                  </a:lnTo>
                  <a:lnTo>
                    <a:pt x="21" y="61"/>
                  </a:lnTo>
                  <a:lnTo>
                    <a:pt x="19" y="61"/>
                  </a:lnTo>
                  <a:lnTo>
                    <a:pt x="19" y="61"/>
                  </a:lnTo>
                  <a:lnTo>
                    <a:pt x="17" y="56"/>
                  </a:lnTo>
                  <a:lnTo>
                    <a:pt x="14" y="56"/>
                  </a:lnTo>
                  <a:lnTo>
                    <a:pt x="14" y="54"/>
                  </a:lnTo>
                  <a:lnTo>
                    <a:pt x="10" y="51"/>
                  </a:lnTo>
                  <a:lnTo>
                    <a:pt x="7" y="49"/>
                  </a:lnTo>
                  <a:lnTo>
                    <a:pt x="7" y="47"/>
                  </a:lnTo>
                  <a:lnTo>
                    <a:pt x="5" y="44"/>
                  </a:lnTo>
                  <a:lnTo>
                    <a:pt x="0" y="40"/>
                  </a:lnTo>
                  <a:lnTo>
                    <a:pt x="3" y="37"/>
                  </a:lnTo>
                  <a:lnTo>
                    <a:pt x="7" y="24"/>
                  </a:lnTo>
                  <a:lnTo>
                    <a:pt x="5" y="14"/>
                  </a:lnTo>
                  <a:lnTo>
                    <a:pt x="7" y="14"/>
                  </a:lnTo>
                  <a:lnTo>
                    <a:pt x="7" y="10"/>
                  </a:lnTo>
                  <a:lnTo>
                    <a:pt x="10" y="10"/>
                  </a:lnTo>
                  <a:lnTo>
                    <a:pt x="12" y="12"/>
                  </a:lnTo>
                  <a:lnTo>
                    <a:pt x="14" y="10"/>
                  </a:lnTo>
                  <a:lnTo>
                    <a:pt x="19" y="12"/>
                  </a:lnTo>
                  <a:lnTo>
                    <a:pt x="24" y="12"/>
                  </a:lnTo>
                  <a:lnTo>
                    <a:pt x="31" y="7"/>
                  </a:lnTo>
                  <a:lnTo>
                    <a:pt x="35" y="7"/>
                  </a:lnTo>
                  <a:lnTo>
                    <a:pt x="40" y="7"/>
                  </a:lnTo>
                  <a:lnTo>
                    <a:pt x="42" y="3"/>
                  </a:lnTo>
                  <a:lnTo>
                    <a:pt x="45" y="0"/>
                  </a:lnTo>
                  <a:lnTo>
                    <a:pt x="45" y="3"/>
                  </a:lnTo>
                  <a:lnTo>
                    <a:pt x="47" y="5"/>
                  </a:lnTo>
                  <a:lnTo>
                    <a:pt x="49" y="5"/>
                  </a:lnTo>
                  <a:lnTo>
                    <a:pt x="52" y="5"/>
                  </a:lnTo>
                  <a:lnTo>
                    <a:pt x="54" y="3"/>
                  </a:lnTo>
                  <a:lnTo>
                    <a:pt x="54" y="3"/>
                  </a:lnTo>
                  <a:lnTo>
                    <a:pt x="56" y="0"/>
                  </a:lnTo>
                  <a:lnTo>
                    <a:pt x="75" y="5"/>
                  </a:lnTo>
                  <a:lnTo>
                    <a:pt x="75" y="7"/>
                  </a:lnTo>
                  <a:close/>
                </a:path>
              </a:pathLst>
            </a:custGeom>
            <a:solidFill>
              <a:srgbClr val="104F75"/>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0" name="Freeform 10">
              <a:extLst>
                <a:ext uri="{FF2B5EF4-FFF2-40B4-BE49-F238E27FC236}">
                  <a16:creationId xmlns:a16="http://schemas.microsoft.com/office/drawing/2014/main" id="{BDA17C6E-1151-38C8-3085-4F5CDA75242E}"/>
                </a:ext>
              </a:extLst>
            </p:cNvPr>
            <p:cNvSpPr>
              <a:spLocks/>
            </p:cNvSpPr>
            <p:nvPr/>
          </p:nvSpPr>
          <p:spPr bwMode="auto">
            <a:xfrm>
              <a:off x="8854948" y="3163533"/>
              <a:ext cx="354012" cy="509587"/>
            </a:xfrm>
            <a:custGeom>
              <a:avLst/>
              <a:gdLst>
                <a:gd name="T0" fmla="*/ 130 w 223"/>
                <a:gd name="T1" fmla="*/ 42 h 321"/>
                <a:gd name="T2" fmla="*/ 132 w 223"/>
                <a:gd name="T3" fmla="*/ 49 h 321"/>
                <a:gd name="T4" fmla="*/ 146 w 223"/>
                <a:gd name="T5" fmla="*/ 60 h 321"/>
                <a:gd name="T6" fmla="*/ 149 w 223"/>
                <a:gd name="T7" fmla="*/ 70 h 321"/>
                <a:gd name="T8" fmla="*/ 151 w 223"/>
                <a:gd name="T9" fmla="*/ 79 h 321"/>
                <a:gd name="T10" fmla="*/ 146 w 223"/>
                <a:gd name="T11" fmla="*/ 107 h 321"/>
                <a:gd name="T12" fmla="*/ 146 w 223"/>
                <a:gd name="T13" fmla="*/ 125 h 321"/>
                <a:gd name="T14" fmla="*/ 146 w 223"/>
                <a:gd name="T15" fmla="*/ 135 h 321"/>
                <a:gd name="T16" fmla="*/ 151 w 223"/>
                <a:gd name="T17" fmla="*/ 149 h 321"/>
                <a:gd name="T18" fmla="*/ 151 w 223"/>
                <a:gd name="T19" fmla="*/ 163 h 321"/>
                <a:gd name="T20" fmla="*/ 153 w 223"/>
                <a:gd name="T21" fmla="*/ 177 h 321"/>
                <a:gd name="T22" fmla="*/ 156 w 223"/>
                <a:gd name="T23" fmla="*/ 188 h 321"/>
                <a:gd name="T24" fmla="*/ 160 w 223"/>
                <a:gd name="T25" fmla="*/ 202 h 321"/>
                <a:gd name="T26" fmla="*/ 160 w 223"/>
                <a:gd name="T27" fmla="*/ 216 h 321"/>
                <a:gd name="T28" fmla="*/ 170 w 223"/>
                <a:gd name="T29" fmla="*/ 260 h 321"/>
                <a:gd name="T30" fmla="*/ 174 w 223"/>
                <a:gd name="T31" fmla="*/ 270 h 321"/>
                <a:gd name="T32" fmla="*/ 174 w 223"/>
                <a:gd name="T33" fmla="*/ 279 h 321"/>
                <a:gd name="T34" fmla="*/ 172 w 223"/>
                <a:gd name="T35" fmla="*/ 283 h 321"/>
                <a:gd name="T36" fmla="*/ 174 w 223"/>
                <a:gd name="T37" fmla="*/ 283 h 321"/>
                <a:gd name="T38" fmla="*/ 179 w 223"/>
                <a:gd name="T39" fmla="*/ 279 h 321"/>
                <a:gd name="T40" fmla="*/ 223 w 223"/>
                <a:gd name="T41" fmla="*/ 304 h 321"/>
                <a:gd name="T42" fmla="*/ 219 w 223"/>
                <a:gd name="T43" fmla="*/ 309 h 321"/>
                <a:gd name="T44" fmla="*/ 198 w 223"/>
                <a:gd name="T45" fmla="*/ 316 h 321"/>
                <a:gd name="T46" fmla="*/ 167 w 223"/>
                <a:gd name="T47" fmla="*/ 309 h 321"/>
                <a:gd name="T48" fmla="*/ 144 w 223"/>
                <a:gd name="T49" fmla="*/ 316 h 321"/>
                <a:gd name="T50" fmla="*/ 135 w 223"/>
                <a:gd name="T51" fmla="*/ 311 h 321"/>
                <a:gd name="T52" fmla="*/ 132 w 223"/>
                <a:gd name="T53" fmla="*/ 316 h 321"/>
                <a:gd name="T54" fmla="*/ 123 w 223"/>
                <a:gd name="T55" fmla="*/ 309 h 321"/>
                <a:gd name="T56" fmla="*/ 112 w 223"/>
                <a:gd name="T57" fmla="*/ 300 h 321"/>
                <a:gd name="T58" fmla="*/ 98 w 223"/>
                <a:gd name="T59" fmla="*/ 295 h 321"/>
                <a:gd name="T60" fmla="*/ 86 w 223"/>
                <a:gd name="T61" fmla="*/ 297 h 321"/>
                <a:gd name="T62" fmla="*/ 60 w 223"/>
                <a:gd name="T63" fmla="*/ 300 h 321"/>
                <a:gd name="T64" fmla="*/ 39 w 223"/>
                <a:gd name="T65" fmla="*/ 295 h 321"/>
                <a:gd name="T66" fmla="*/ 25 w 223"/>
                <a:gd name="T67" fmla="*/ 260 h 321"/>
                <a:gd name="T68" fmla="*/ 23 w 223"/>
                <a:gd name="T69" fmla="*/ 244 h 321"/>
                <a:gd name="T70" fmla="*/ 18 w 223"/>
                <a:gd name="T71" fmla="*/ 211 h 321"/>
                <a:gd name="T72" fmla="*/ 2 w 223"/>
                <a:gd name="T73" fmla="*/ 202 h 321"/>
                <a:gd name="T74" fmla="*/ 7 w 223"/>
                <a:gd name="T75" fmla="*/ 184 h 321"/>
                <a:gd name="T76" fmla="*/ 18 w 223"/>
                <a:gd name="T77" fmla="*/ 163 h 321"/>
                <a:gd name="T78" fmla="*/ 11 w 223"/>
                <a:gd name="T79" fmla="*/ 153 h 321"/>
                <a:gd name="T80" fmla="*/ 0 w 223"/>
                <a:gd name="T81" fmla="*/ 125 h 321"/>
                <a:gd name="T82" fmla="*/ 9 w 223"/>
                <a:gd name="T83" fmla="*/ 116 h 321"/>
                <a:gd name="T84" fmla="*/ 9 w 223"/>
                <a:gd name="T85" fmla="*/ 111 h 321"/>
                <a:gd name="T86" fmla="*/ 35 w 223"/>
                <a:gd name="T87" fmla="*/ 91 h 321"/>
                <a:gd name="T88" fmla="*/ 42 w 223"/>
                <a:gd name="T89" fmla="*/ 93 h 321"/>
                <a:gd name="T90" fmla="*/ 51 w 223"/>
                <a:gd name="T91" fmla="*/ 88 h 321"/>
                <a:gd name="T92" fmla="*/ 60 w 223"/>
                <a:gd name="T93" fmla="*/ 81 h 321"/>
                <a:gd name="T94" fmla="*/ 74 w 223"/>
                <a:gd name="T95" fmla="*/ 77 h 321"/>
                <a:gd name="T96" fmla="*/ 72 w 223"/>
                <a:gd name="T97" fmla="*/ 67 h 321"/>
                <a:gd name="T98" fmla="*/ 72 w 223"/>
                <a:gd name="T99" fmla="*/ 65 h 321"/>
                <a:gd name="T100" fmla="*/ 67 w 223"/>
                <a:gd name="T101" fmla="*/ 46 h 321"/>
                <a:gd name="T102" fmla="*/ 65 w 223"/>
                <a:gd name="T103" fmla="*/ 39 h 321"/>
                <a:gd name="T104" fmla="*/ 60 w 223"/>
                <a:gd name="T105" fmla="*/ 35 h 321"/>
                <a:gd name="T106" fmla="*/ 65 w 223"/>
                <a:gd name="T107" fmla="*/ 30 h 321"/>
                <a:gd name="T108" fmla="*/ 84 w 223"/>
                <a:gd name="T109" fmla="*/ 19 h 321"/>
                <a:gd name="T110" fmla="*/ 91 w 223"/>
                <a:gd name="T111" fmla="*/ 14 h 321"/>
                <a:gd name="T112" fmla="*/ 98 w 223"/>
                <a:gd name="T113" fmla="*/ 5 h 321"/>
                <a:gd name="T114" fmla="*/ 121 w 223"/>
                <a:gd name="T115" fmla="*/ 2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3" h="321">
                  <a:moveTo>
                    <a:pt x="126" y="42"/>
                  </a:moveTo>
                  <a:lnTo>
                    <a:pt x="128" y="44"/>
                  </a:lnTo>
                  <a:lnTo>
                    <a:pt x="128" y="44"/>
                  </a:lnTo>
                  <a:lnTo>
                    <a:pt x="130" y="42"/>
                  </a:lnTo>
                  <a:lnTo>
                    <a:pt x="130" y="42"/>
                  </a:lnTo>
                  <a:lnTo>
                    <a:pt x="130" y="42"/>
                  </a:lnTo>
                  <a:lnTo>
                    <a:pt x="132" y="42"/>
                  </a:lnTo>
                  <a:lnTo>
                    <a:pt x="132" y="42"/>
                  </a:lnTo>
                  <a:lnTo>
                    <a:pt x="135" y="44"/>
                  </a:lnTo>
                  <a:lnTo>
                    <a:pt x="135" y="49"/>
                  </a:lnTo>
                  <a:lnTo>
                    <a:pt x="132" y="49"/>
                  </a:lnTo>
                  <a:lnTo>
                    <a:pt x="132" y="49"/>
                  </a:lnTo>
                  <a:lnTo>
                    <a:pt x="135" y="51"/>
                  </a:lnTo>
                  <a:lnTo>
                    <a:pt x="139" y="49"/>
                  </a:lnTo>
                  <a:lnTo>
                    <a:pt x="142" y="51"/>
                  </a:lnTo>
                  <a:lnTo>
                    <a:pt x="149" y="58"/>
                  </a:lnTo>
                  <a:lnTo>
                    <a:pt x="149" y="60"/>
                  </a:lnTo>
                  <a:lnTo>
                    <a:pt x="146" y="60"/>
                  </a:lnTo>
                  <a:lnTo>
                    <a:pt x="146" y="63"/>
                  </a:lnTo>
                  <a:lnTo>
                    <a:pt x="149" y="65"/>
                  </a:lnTo>
                  <a:lnTo>
                    <a:pt x="149" y="67"/>
                  </a:lnTo>
                  <a:lnTo>
                    <a:pt x="146" y="67"/>
                  </a:lnTo>
                  <a:lnTo>
                    <a:pt x="146" y="70"/>
                  </a:lnTo>
                  <a:lnTo>
                    <a:pt x="149" y="70"/>
                  </a:lnTo>
                  <a:lnTo>
                    <a:pt x="151" y="72"/>
                  </a:lnTo>
                  <a:lnTo>
                    <a:pt x="149" y="74"/>
                  </a:lnTo>
                  <a:lnTo>
                    <a:pt x="149" y="77"/>
                  </a:lnTo>
                  <a:lnTo>
                    <a:pt x="149" y="77"/>
                  </a:lnTo>
                  <a:lnTo>
                    <a:pt x="151" y="79"/>
                  </a:lnTo>
                  <a:lnTo>
                    <a:pt x="151" y="79"/>
                  </a:lnTo>
                  <a:lnTo>
                    <a:pt x="151" y="81"/>
                  </a:lnTo>
                  <a:lnTo>
                    <a:pt x="149" y="98"/>
                  </a:lnTo>
                  <a:lnTo>
                    <a:pt x="149" y="100"/>
                  </a:lnTo>
                  <a:lnTo>
                    <a:pt x="146" y="102"/>
                  </a:lnTo>
                  <a:lnTo>
                    <a:pt x="146" y="105"/>
                  </a:lnTo>
                  <a:lnTo>
                    <a:pt x="146" y="107"/>
                  </a:lnTo>
                  <a:lnTo>
                    <a:pt x="146" y="111"/>
                  </a:lnTo>
                  <a:lnTo>
                    <a:pt x="149" y="118"/>
                  </a:lnTo>
                  <a:lnTo>
                    <a:pt x="149" y="121"/>
                  </a:lnTo>
                  <a:lnTo>
                    <a:pt x="149" y="123"/>
                  </a:lnTo>
                  <a:lnTo>
                    <a:pt x="149" y="123"/>
                  </a:lnTo>
                  <a:lnTo>
                    <a:pt x="146" y="125"/>
                  </a:lnTo>
                  <a:lnTo>
                    <a:pt x="146" y="125"/>
                  </a:lnTo>
                  <a:lnTo>
                    <a:pt x="146" y="128"/>
                  </a:lnTo>
                  <a:lnTo>
                    <a:pt x="146" y="128"/>
                  </a:lnTo>
                  <a:lnTo>
                    <a:pt x="146" y="130"/>
                  </a:lnTo>
                  <a:lnTo>
                    <a:pt x="146" y="132"/>
                  </a:lnTo>
                  <a:lnTo>
                    <a:pt x="146" y="135"/>
                  </a:lnTo>
                  <a:lnTo>
                    <a:pt x="149" y="137"/>
                  </a:lnTo>
                  <a:lnTo>
                    <a:pt x="151" y="139"/>
                  </a:lnTo>
                  <a:lnTo>
                    <a:pt x="149" y="144"/>
                  </a:lnTo>
                  <a:lnTo>
                    <a:pt x="149" y="144"/>
                  </a:lnTo>
                  <a:lnTo>
                    <a:pt x="151" y="146"/>
                  </a:lnTo>
                  <a:lnTo>
                    <a:pt x="151" y="149"/>
                  </a:lnTo>
                  <a:lnTo>
                    <a:pt x="151" y="151"/>
                  </a:lnTo>
                  <a:lnTo>
                    <a:pt x="149" y="153"/>
                  </a:lnTo>
                  <a:lnTo>
                    <a:pt x="149" y="153"/>
                  </a:lnTo>
                  <a:lnTo>
                    <a:pt x="149" y="158"/>
                  </a:lnTo>
                  <a:lnTo>
                    <a:pt x="149" y="160"/>
                  </a:lnTo>
                  <a:lnTo>
                    <a:pt x="151" y="163"/>
                  </a:lnTo>
                  <a:lnTo>
                    <a:pt x="149" y="167"/>
                  </a:lnTo>
                  <a:lnTo>
                    <a:pt x="151" y="172"/>
                  </a:lnTo>
                  <a:lnTo>
                    <a:pt x="151" y="174"/>
                  </a:lnTo>
                  <a:lnTo>
                    <a:pt x="151" y="174"/>
                  </a:lnTo>
                  <a:lnTo>
                    <a:pt x="153" y="174"/>
                  </a:lnTo>
                  <a:lnTo>
                    <a:pt x="153" y="177"/>
                  </a:lnTo>
                  <a:lnTo>
                    <a:pt x="153" y="177"/>
                  </a:lnTo>
                  <a:lnTo>
                    <a:pt x="153" y="179"/>
                  </a:lnTo>
                  <a:lnTo>
                    <a:pt x="153" y="179"/>
                  </a:lnTo>
                  <a:lnTo>
                    <a:pt x="153" y="184"/>
                  </a:lnTo>
                  <a:lnTo>
                    <a:pt x="156" y="186"/>
                  </a:lnTo>
                  <a:lnTo>
                    <a:pt x="156" y="188"/>
                  </a:lnTo>
                  <a:lnTo>
                    <a:pt x="156" y="190"/>
                  </a:lnTo>
                  <a:lnTo>
                    <a:pt x="156" y="195"/>
                  </a:lnTo>
                  <a:lnTo>
                    <a:pt x="158" y="195"/>
                  </a:lnTo>
                  <a:lnTo>
                    <a:pt x="158" y="195"/>
                  </a:lnTo>
                  <a:lnTo>
                    <a:pt x="160" y="200"/>
                  </a:lnTo>
                  <a:lnTo>
                    <a:pt x="160" y="202"/>
                  </a:lnTo>
                  <a:lnTo>
                    <a:pt x="160" y="204"/>
                  </a:lnTo>
                  <a:lnTo>
                    <a:pt x="160" y="204"/>
                  </a:lnTo>
                  <a:lnTo>
                    <a:pt x="160" y="207"/>
                  </a:lnTo>
                  <a:lnTo>
                    <a:pt x="160" y="211"/>
                  </a:lnTo>
                  <a:lnTo>
                    <a:pt x="160" y="214"/>
                  </a:lnTo>
                  <a:lnTo>
                    <a:pt x="160" y="216"/>
                  </a:lnTo>
                  <a:lnTo>
                    <a:pt x="160" y="216"/>
                  </a:lnTo>
                  <a:lnTo>
                    <a:pt x="160" y="225"/>
                  </a:lnTo>
                  <a:lnTo>
                    <a:pt x="163" y="246"/>
                  </a:lnTo>
                  <a:lnTo>
                    <a:pt x="165" y="253"/>
                  </a:lnTo>
                  <a:lnTo>
                    <a:pt x="167" y="260"/>
                  </a:lnTo>
                  <a:lnTo>
                    <a:pt x="170" y="260"/>
                  </a:lnTo>
                  <a:lnTo>
                    <a:pt x="170" y="263"/>
                  </a:lnTo>
                  <a:lnTo>
                    <a:pt x="177" y="267"/>
                  </a:lnTo>
                  <a:lnTo>
                    <a:pt x="177" y="267"/>
                  </a:lnTo>
                  <a:lnTo>
                    <a:pt x="174" y="267"/>
                  </a:lnTo>
                  <a:lnTo>
                    <a:pt x="174" y="270"/>
                  </a:lnTo>
                  <a:lnTo>
                    <a:pt x="174" y="270"/>
                  </a:lnTo>
                  <a:lnTo>
                    <a:pt x="174" y="272"/>
                  </a:lnTo>
                  <a:lnTo>
                    <a:pt x="174" y="272"/>
                  </a:lnTo>
                  <a:lnTo>
                    <a:pt x="174" y="274"/>
                  </a:lnTo>
                  <a:lnTo>
                    <a:pt x="174" y="276"/>
                  </a:lnTo>
                  <a:lnTo>
                    <a:pt x="177" y="276"/>
                  </a:lnTo>
                  <a:lnTo>
                    <a:pt x="174" y="279"/>
                  </a:lnTo>
                  <a:lnTo>
                    <a:pt x="174" y="281"/>
                  </a:lnTo>
                  <a:lnTo>
                    <a:pt x="170" y="281"/>
                  </a:lnTo>
                  <a:lnTo>
                    <a:pt x="170" y="283"/>
                  </a:lnTo>
                  <a:lnTo>
                    <a:pt x="170" y="283"/>
                  </a:lnTo>
                  <a:lnTo>
                    <a:pt x="172" y="283"/>
                  </a:lnTo>
                  <a:lnTo>
                    <a:pt x="172" y="283"/>
                  </a:lnTo>
                  <a:lnTo>
                    <a:pt x="172" y="283"/>
                  </a:lnTo>
                  <a:lnTo>
                    <a:pt x="174" y="283"/>
                  </a:lnTo>
                  <a:lnTo>
                    <a:pt x="174" y="283"/>
                  </a:lnTo>
                  <a:lnTo>
                    <a:pt x="174" y="283"/>
                  </a:lnTo>
                  <a:lnTo>
                    <a:pt x="174" y="283"/>
                  </a:lnTo>
                  <a:lnTo>
                    <a:pt x="174" y="283"/>
                  </a:lnTo>
                  <a:lnTo>
                    <a:pt x="174" y="286"/>
                  </a:lnTo>
                  <a:lnTo>
                    <a:pt x="174" y="286"/>
                  </a:lnTo>
                  <a:lnTo>
                    <a:pt x="174" y="286"/>
                  </a:lnTo>
                  <a:lnTo>
                    <a:pt x="177" y="286"/>
                  </a:lnTo>
                  <a:lnTo>
                    <a:pt x="177" y="286"/>
                  </a:lnTo>
                  <a:lnTo>
                    <a:pt x="179" y="279"/>
                  </a:lnTo>
                  <a:lnTo>
                    <a:pt x="181" y="283"/>
                  </a:lnTo>
                  <a:lnTo>
                    <a:pt x="184" y="286"/>
                  </a:lnTo>
                  <a:lnTo>
                    <a:pt x="186" y="286"/>
                  </a:lnTo>
                  <a:lnTo>
                    <a:pt x="191" y="288"/>
                  </a:lnTo>
                  <a:lnTo>
                    <a:pt x="198" y="293"/>
                  </a:lnTo>
                  <a:lnTo>
                    <a:pt x="223" y="304"/>
                  </a:lnTo>
                  <a:lnTo>
                    <a:pt x="223" y="307"/>
                  </a:lnTo>
                  <a:lnTo>
                    <a:pt x="223" y="307"/>
                  </a:lnTo>
                  <a:lnTo>
                    <a:pt x="223" y="307"/>
                  </a:lnTo>
                  <a:lnTo>
                    <a:pt x="223" y="307"/>
                  </a:lnTo>
                  <a:lnTo>
                    <a:pt x="221" y="309"/>
                  </a:lnTo>
                  <a:lnTo>
                    <a:pt x="219" y="309"/>
                  </a:lnTo>
                  <a:lnTo>
                    <a:pt x="216" y="311"/>
                  </a:lnTo>
                  <a:lnTo>
                    <a:pt x="214" y="314"/>
                  </a:lnTo>
                  <a:lnTo>
                    <a:pt x="214" y="321"/>
                  </a:lnTo>
                  <a:lnTo>
                    <a:pt x="209" y="318"/>
                  </a:lnTo>
                  <a:lnTo>
                    <a:pt x="200" y="318"/>
                  </a:lnTo>
                  <a:lnTo>
                    <a:pt x="198" y="316"/>
                  </a:lnTo>
                  <a:lnTo>
                    <a:pt x="195" y="316"/>
                  </a:lnTo>
                  <a:lnTo>
                    <a:pt x="188" y="316"/>
                  </a:lnTo>
                  <a:lnTo>
                    <a:pt x="184" y="311"/>
                  </a:lnTo>
                  <a:lnTo>
                    <a:pt x="177" y="314"/>
                  </a:lnTo>
                  <a:lnTo>
                    <a:pt x="170" y="311"/>
                  </a:lnTo>
                  <a:lnTo>
                    <a:pt x="167" y="309"/>
                  </a:lnTo>
                  <a:lnTo>
                    <a:pt x="163" y="311"/>
                  </a:lnTo>
                  <a:lnTo>
                    <a:pt x="160" y="314"/>
                  </a:lnTo>
                  <a:lnTo>
                    <a:pt x="160" y="314"/>
                  </a:lnTo>
                  <a:lnTo>
                    <a:pt x="149" y="316"/>
                  </a:lnTo>
                  <a:lnTo>
                    <a:pt x="149" y="316"/>
                  </a:lnTo>
                  <a:lnTo>
                    <a:pt x="144" y="316"/>
                  </a:lnTo>
                  <a:lnTo>
                    <a:pt x="144" y="309"/>
                  </a:lnTo>
                  <a:lnTo>
                    <a:pt x="142" y="309"/>
                  </a:lnTo>
                  <a:lnTo>
                    <a:pt x="142" y="309"/>
                  </a:lnTo>
                  <a:lnTo>
                    <a:pt x="139" y="309"/>
                  </a:lnTo>
                  <a:lnTo>
                    <a:pt x="137" y="311"/>
                  </a:lnTo>
                  <a:lnTo>
                    <a:pt x="135" y="311"/>
                  </a:lnTo>
                  <a:lnTo>
                    <a:pt x="135" y="309"/>
                  </a:lnTo>
                  <a:lnTo>
                    <a:pt x="135" y="307"/>
                  </a:lnTo>
                  <a:lnTo>
                    <a:pt x="132" y="307"/>
                  </a:lnTo>
                  <a:lnTo>
                    <a:pt x="130" y="307"/>
                  </a:lnTo>
                  <a:lnTo>
                    <a:pt x="130" y="309"/>
                  </a:lnTo>
                  <a:lnTo>
                    <a:pt x="132" y="316"/>
                  </a:lnTo>
                  <a:lnTo>
                    <a:pt x="132" y="318"/>
                  </a:lnTo>
                  <a:lnTo>
                    <a:pt x="130" y="318"/>
                  </a:lnTo>
                  <a:lnTo>
                    <a:pt x="128" y="318"/>
                  </a:lnTo>
                  <a:lnTo>
                    <a:pt x="128" y="311"/>
                  </a:lnTo>
                  <a:lnTo>
                    <a:pt x="128" y="309"/>
                  </a:lnTo>
                  <a:lnTo>
                    <a:pt x="123" y="309"/>
                  </a:lnTo>
                  <a:lnTo>
                    <a:pt x="123" y="311"/>
                  </a:lnTo>
                  <a:lnTo>
                    <a:pt x="121" y="311"/>
                  </a:lnTo>
                  <a:lnTo>
                    <a:pt x="116" y="307"/>
                  </a:lnTo>
                  <a:lnTo>
                    <a:pt x="116" y="302"/>
                  </a:lnTo>
                  <a:lnTo>
                    <a:pt x="114" y="300"/>
                  </a:lnTo>
                  <a:lnTo>
                    <a:pt x="112" y="300"/>
                  </a:lnTo>
                  <a:lnTo>
                    <a:pt x="109" y="300"/>
                  </a:lnTo>
                  <a:lnTo>
                    <a:pt x="109" y="297"/>
                  </a:lnTo>
                  <a:lnTo>
                    <a:pt x="107" y="295"/>
                  </a:lnTo>
                  <a:lnTo>
                    <a:pt x="105" y="295"/>
                  </a:lnTo>
                  <a:lnTo>
                    <a:pt x="100" y="293"/>
                  </a:lnTo>
                  <a:lnTo>
                    <a:pt x="98" y="295"/>
                  </a:lnTo>
                  <a:lnTo>
                    <a:pt x="95" y="293"/>
                  </a:lnTo>
                  <a:lnTo>
                    <a:pt x="93" y="293"/>
                  </a:lnTo>
                  <a:lnTo>
                    <a:pt x="93" y="297"/>
                  </a:lnTo>
                  <a:lnTo>
                    <a:pt x="91" y="300"/>
                  </a:lnTo>
                  <a:lnTo>
                    <a:pt x="88" y="302"/>
                  </a:lnTo>
                  <a:lnTo>
                    <a:pt x="86" y="297"/>
                  </a:lnTo>
                  <a:lnTo>
                    <a:pt x="84" y="297"/>
                  </a:lnTo>
                  <a:lnTo>
                    <a:pt x="81" y="300"/>
                  </a:lnTo>
                  <a:lnTo>
                    <a:pt x="81" y="302"/>
                  </a:lnTo>
                  <a:lnTo>
                    <a:pt x="70" y="307"/>
                  </a:lnTo>
                  <a:lnTo>
                    <a:pt x="65" y="307"/>
                  </a:lnTo>
                  <a:lnTo>
                    <a:pt x="60" y="300"/>
                  </a:lnTo>
                  <a:lnTo>
                    <a:pt x="56" y="297"/>
                  </a:lnTo>
                  <a:lnTo>
                    <a:pt x="46" y="300"/>
                  </a:lnTo>
                  <a:lnTo>
                    <a:pt x="42" y="302"/>
                  </a:lnTo>
                  <a:lnTo>
                    <a:pt x="39" y="302"/>
                  </a:lnTo>
                  <a:lnTo>
                    <a:pt x="42" y="297"/>
                  </a:lnTo>
                  <a:lnTo>
                    <a:pt x="39" y="295"/>
                  </a:lnTo>
                  <a:lnTo>
                    <a:pt x="42" y="286"/>
                  </a:lnTo>
                  <a:lnTo>
                    <a:pt x="37" y="283"/>
                  </a:lnTo>
                  <a:lnTo>
                    <a:pt x="37" y="279"/>
                  </a:lnTo>
                  <a:lnTo>
                    <a:pt x="28" y="270"/>
                  </a:lnTo>
                  <a:lnTo>
                    <a:pt x="28" y="265"/>
                  </a:lnTo>
                  <a:lnTo>
                    <a:pt x="25" y="260"/>
                  </a:lnTo>
                  <a:lnTo>
                    <a:pt x="30" y="258"/>
                  </a:lnTo>
                  <a:lnTo>
                    <a:pt x="30" y="256"/>
                  </a:lnTo>
                  <a:lnTo>
                    <a:pt x="30" y="253"/>
                  </a:lnTo>
                  <a:lnTo>
                    <a:pt x="30" y="251"/>
                  </a:lnTo>
                  <a:lnTo>
                    <a:pt x="23" y="246"/>
                  </a:lnTo>
                  <a:lnTo>
                    <a:pt x="23" y="244"/>
                  </a:lnTo>
                  <a:lnTo>
                    <a:pt x="28" y="237"/>
                  </a:lnTo>
                  <a:lnTo>
                    <a:pt x="32" y="225"/>
                  </a:lnTo>
                  <a:lnTo>
                    <a:pt x="25" y="216"/>
                  </a:lnTo>
                  <a:lnTo>
                    <a:pt x="23" y="207"/>
                  </a:lnTo>
                  <a:lnTo>
                    <a:pt x="21" y="209"/>
                  </a:lnTo>
                  <a:lnTo>
                    <a:pt x="18" y="211"/>
                  </a:lnTo>
                  <a:lnTo>
                    <a:pt x="9" y="216"/>
                  </a:lnTo>
                  <a:lnTo>
                    <a:pt x="4" y="214"/>
                  </a:lnTo>
                  <a:lnTo>
                    <a:pt x="0" y="209"/>
                  </a:lnTo>
                  <a:lnTo>
                    <a:pt x="0" y="207"/>
                  </a:lnTo>
                  <a:lnTo>
                    <a:pt x="2" y="204"/>
                  </a:lnTo>
                  <a:lnTo>
                    <a:pt x="2" y="202"/>
                  </a:lnTo>
                  <a:lnTo>
                    <a:pt x="0" y="197"/>
                  </a:lnTo>
                  <a:lnTo>
                    <a:pt x="0" y="195"/>
                  </a:lnTo>
                  <a:lnTo>
                    <a:pt x="2" y="193"/>
                  </a:lnTo>
                  <a:lnTo>
                    <a:pt x="4" y="188"/>
                  </a:lnTo>
                  <a:lnTo>
                    <a:pt x="7" y="188"/>
                  </a:lnTo>
                  <a:lnTo>
                    <a:pt x="7" y="184"/>
                  </a:lnTo>
                  <a:lnTo>
                    <a:pt x="4" y="179"/>
                  </a:lnTo>
                  <a:lnTo>
                    <a:pt x="2" y="177"/>
                  </a:lnTo>
                  <a:lnTo>
                    <a:pt x="7" y="172"/>
                  </a:lnTo>
                  <a:lnTo>
                    <a:pt x="7" y="170"/>
                  </a:lnTo>
                  <a:lnTo>
                    <a:pt x="9" y="167"/>
                  </a:lnTo>
                  <a:lnTo>
                    <a:pt x="18" y="163"/>
                  </a:lnTo>
                  <a:lnTo>
                    <a:pt x="18" y="158"/>
                  </a:lnTo>
                  <a:lnTo>
                    <a:pt x="18" y="158"/>
                  </a:lnTo>
                  <a:lnTo>
                    <a:pt x="18" y="156"/>
                  </a:lnTo>
                  <a:lnTo>
                    <a:pt x="21" y="153"/>
                  </a:lnTo>
                  <a:lnTo>
                    <a:pt x="18" y="151"/>
                  </a:lnTo>
                  <a:lnTo>
                    <a:pt x="11" y="153"/>
                  </a:lnTo>
                  <a:lnTo>
                    <a:pt x="11" y="151"/>
                  </a:lnTo>
                  <a:lnTo>
                    <a:pt x="9" y="146"/>
                  </a:lnTo>
                  <a:lnTo>
                    <a:pt x="7" y="142"/>
                  </a:lnTo>
                  <a:lnTo>
                    <a:pt x="2" y="139"/>
                  </a:lnTo>
                  <a:lnTo>
                    <a:pt x="2" y="135"/>
                  </a:lnTo>
                  <a:lnTo>
                    <a:pt x="0" y="125"/>
                  </a:lnTo>
                  <a:lnTo>
                    <a:pt x="0" y="125"/>
                  </a:lnTo>
                  <a:lnTo>
                    <a:pt x="2" y="121"/>
                  </a:lnTo>
                  <a:lnTo>
                    <a:pt x="4" y="118"/>
                  </a:lnTo>
                  <a:lnTo>
                    <a:pt x="7" y="118"/>
                  </a:lnTo>
                  <a:lnTo>
                    <a:pt x="9" y="118"/>
                  </a:lnTo>
                  <a:lnTo>
                    <a:pt x="9" y="116"/>
                  </a:lnTo>
                  <a:lnTo>
                    <a:pt x="9" y="116"/>
                  </a:lnTo>
                  <a:lnTo>
                    <a:pt x="9" y="114"/>
                  </a:lnTo>
                  <a:lnTo>
                    <a:pt x="9" y="114"/>
                  </a:lnTo>
                  <a:lnTo>
                    <a:pt x="9" y="114"/>
                  </a:lnTo>
                  <a:lnTo>
                    <a:pt x="9" y="111"/>
                  </a:lnTo>
                  <a:lnTo>
                    <a:pt x="9" y="111"/>
                  </a:lnTo>
                  <a:lnTo>
                    <a:pt x="9" y="109"/>
                  </a:lnTo>
                  <a:lnTo>
                    <a:pt x="9" y="109"/>
                  </a:lnTo>
                  <a:lnTo>
                    <a:pt x="11" y="109"/>
                  </a:lnTo>
                  <a:lnTo>
                    <a:pt x="11" y="107"/>
                  </a:lnTo>
                  <a:lnTo>
                    <a:pt x="21" y="100"/>
                  </a:lnTo>
                  <a:lnTo>
                    <a:pt x="35" y="91"/>
                  </a:lnTo>
                  <a:lnTo>
                    <a:pt x="35" y="91"/>
                  </a:lnTo>
                  <a:lnTo>
                    <a:pt x="39" y="91"/>
                  </a:lnTo>
                  <a:lnTo>
                    <a:pt x="42" y="91"/>
                  </a:lnTo>
                  <a:lnTo>
                    <a:pt x="42" y="93"/>
                  </a:lnTo>
                  <a:lnTo>
                    <a:pt x="42" y="93"/>
                  </a:lnTo>
                  <a:lnTo>
                    <a:pt x="42" y="93"/>
                  </a:lnTo>
                  <a:lnTo>
                    <a:pt x="44" y="95"/>
                  </a:lnTo>
                  <a:lnTo>
                    <a:pt x="44" y="95"/>
                  </a:lnTo>
                  <a:lnTo>
                    <a:pt x="46" y="93"/>
                  </a:lnTo>
                  <a:lnTo>
                    <a:pt x="49" y="93"/>
                  </a:lnTo>
                  <a:lnTo>
                    <a:pt x="49" y="91"/>
                  </a:lnTo>
                  <a:lnTo>
                    <a:pt x="51" y="88"/>
                  </a:lnTo>
                  <a:lnTo>
                    <a:pt x="51" y="88"/>
                  </a:lnTo>
                  <a:lnTo>
                    <a:pt x="53" y="86"/>
                  </a:lnTo>
                  <a:lnTo>
                    <a:pt x="53" y="86"/>
                  </a:lnTo>
                  <a:lnTo>
                    <a:pt x="58" y="86"/>
                  </a:lnTo>
                  <a:lnTo>
                    <a:pt x="58" y="84"/>
                  </a:lnTo>
                  <a:lnTo>
                    <a:pt x="60" y="81"/>
                  </a:lnTo>
                  <a:lnTo>
                    <a:pt x="65" y="81"/>
                  </a:lnTo>
                  <a:lnTo>
                    <a:pt x="65" y="81"/>
                  </a:lnTo>
                  <a:lnTo>
                    <a:pt x="70" y="81"/>
                  </a:lnTo>
                  <a:lnTo>
                    <a:pt x="72" y="79"/>
                  </a:lnTo>
                  <a:lnTo>
                    <a:pt x="72" y="77"/>
                  </a:lnTo>
                  <a:lnTo>
                    <a:pt x="74" y="77"/>
                  </a:lnTo>
                  <a:lnTo>
                    <a:pt x="74" y="74"/>
                  </a:lnTo>
                  <a:lnTo>
                    <a:pt x="74" y="74"/>
                  </a:lnTo>
                  <a:lnTo>
                    <a:pt x="74" y="74"/>
                  </a:lnTo>
                  <a:lnTo>
                    <a:pt x="74" y="72"/>
                  </a:lnTo>
                  <a:lnTo>
                    <a:pt x="74" y="72"/>
                  </a:lnTo>
                  <a:lnTo>
                    <a:pt x="72" y="67"/>
                  </a:lnTo>
                  <a:lnTo>
                    <a:pt x="72" y="67"/>
                  </a:lnTo>
                  <a:lnTo>
                    <a:pt x="72" y="65"/>
                  </a:lnTo>
                  <a:lnTo>
                    <a:pt x="72" y="65"/>
                  </a:lnTo>
                  <a:lnTo>
                    <a:pt x="72" y="65"/>
                  </a:lnTo>
                  <a:lnTo>
                    <a:pt x="72" y="65"/>
                  </a:lnTo>
                  <a:lnTo>
                    <a:pt x="72" y="65"/>
                  </a:lnTo>
                  <a:lnTo>
                    <a:pt x="72" y="63"/>
                  </a:lnTo>
                  <a:lnTo>
                    <a:pt x="70" y="60"/>
                  </a:lnTo>
                  <a:lnTo>
                    <a:pt x="70" y="58"/>
                  </a:lnTo>
                  <a:lnTo>
                    <a:pt x="67" y="53"/>
                  </a:lnTo>
                  <a:lnTo>
                    <a:pt x="67" y="46"/>
                  </a:lnTo>
                  <a:lnTo>
                    <a:pt x="67" y="46"/>
                  </a:lnTo>
                  <a:lnTo>
                    <a:pt x="67" y="44"/>
                  </a:lnTo>
                  <a:lnTo>
                    <a:pt x="67" y="44"/>
                  </a:lnTo>
                  <a:lnTo>
                    <a:pt x="65" y="44"/>
                  </a:lnTo>
                  <a:lnTo>
                    <a:pt x="65" y="42"/>
                  </a:lnTo>
                  <a:lnTo>
                    <a:pt x="65" y="42"/>
                  </a:lnTo>
                  <a:lnTo>
                    <a:pt x="65" y="39"/>
                  </a:lnTo>
                  <a:lnTo>
                    <a:pt x="65" y="39"/>
                  </a:lnTo>
                  <a:lnTo>
                    <a:pt x="65" y="37"/>
                  </a:lnTo>
                  <a:lnTo>
                    <a:pt x="65" y="37"/>
                  </a:lnTo>
                  <a:lnTo>
                    <a:pt x="63" y="37"/>
                  </a:lnTo>
                  <a:lnTo>
                    <a:pt x="63" y="35"/>
                  </a:lnTo>
                  <a:lnTo>
                    <a:pt x="60" y="35"/>
                  </a:lnTo>
                  <a:lnTo>
                    <a:pt x="60" y="35"/>
                  </a:lnTo>
                  <a:lnTo>
                    <a:pt x="63" y="32"/>
                  </a:lnTo>
                  <a:lnTo>
                    <a:pt x="63" y="32"/>
                  </a:lnTo>
                  <a:lnTo>
                    <a:pt x="63" y="32"/>
                  </a:lnTo>
                  <a:lnTo>
                    <a:pt x="63" y="30"/>
                  </a:lnTo>
                  <a:lnTo>
                    <a:pt x="65" y="30"/>
                  </a:lnTo>
                  <a:lnTo>
                    <a:pt x="70" y="32"/>
                  </a:lnTo>
                  <a:lnTo>
                    <a:pt x="72" y="32"/>
                  </a:lnTo>
                  <a:lnTo>
                    <a:pt x="74" y="30"/>
                  </a:lnTo>
                  <a:lnTo>
                    <a:pt x="74" y="30"/>
                  </a:lnTo>
                  <a:lnTo>
                    <a:pt x="84" y="21"/>
                  </a:lnTo>
                  <a:lnTo>
                    <a:pt x="84" y="19"/>
                  </a:lnTo>
                  <a:lnTo>
                    <a:pt x="84" y="19"/>
                  </a:lnTo>
                  <a:lnTo>
                    <a:pt x="86" y="16"/>
                  </a:lnTo>
                  <a:lnTo>
                    <a:pt x="86" y="16"/>
                  </a:lnTo>
                  <a:lnTo>
                    <a:pt x="88" y="16"/>
                  </a:lnTo>
                  <a:lnTo>
                    <a:pt x="88" y="14"/>
                  </a:lnTo>
                  <a:lnTo>
                    <a:pt x="91" y="14"/>
                  </a:lnTo>
                  <a:lnTo>
                    <a:pt x="93" y="14"/>
                  </a:lnTo>
                  <a:lnTo>
                    <a:pt x="93" y="14"/>
                  </a:lnTo>
                  <a:lnTo>
                    <a:pt x="95" y="9"/>
                  </a:lnTo>
                  <a:lnTo>
                    <a:pt x="98" y="9"/>
                  </a:lnTo>
                  <a:lnTo>
                    <a:pt x="98" y="7"/>
                  </a:lnTo>
                  <a:lnTo>
                    <a:pt x="98" y="5"/>
                  </a:lnTo>
                  <a:lnTo>
                    <a:pt x="100" y="2"/>
                  </a:lnTo>
                  <a:lnTo>
                    <a:pt x="100" y="2"/>
                  </a:lnTo>
                  <a:lnTo>
                    <a:pt x="100" y="2"/>
                  </a:lnTo>
                  <a:lnTo>
                    <a:pt x="107" y="0"/>
                  </a:lnTo>
                  <a:lnTo>
                    <a:pt x="109" y="5"/>
                  </a:lnTo>
                  <a:lnTo>
                    <a:pt x="121" y="28"/>
                  </a:lnTo>
                  <a:lnTo>
                    <a:pt x="123" y="35"/>
                  </a:lnTo>
                  <a:lnTo>
                    <a:pt x="123" y="37"/>
                  </a:lnTo>
                  <a:lnTo>
                    <a:pt x="126" y="39"/>
                  </a:lnTo>
                  <a:lnTo>
                    <a:pt x="126" y="42"/>
                  </a:lnTo>
                  <a:lnTo>
                    <a:pt x="126" y="42"/>
                  </a:lnTo>
                  <a:close/>
                </a:path>
              </a:pathLst>
            </a:custGeom>
            <a:solidFill>
              <a:srgbClr val="104F75"/>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11">
              <a:extLst>
                <a:ext uri="{FF2B5EF4-FFF2-40B4-BE49-F238E27FC236}">
                  <a16:creationId xmlns:a16="http://schemas.microsoft.com/office/drawing/2014/main" id="{B44AA413-DE64-4FF2-49F4-0FA5E404EE79}"/>
                </a:ext>
              </a:extLst>
            </p:cNvPr>
            <p:cNvSpPr>
              <a:spLocks/>
            </p:cNvSpPr>
            <p:nvPr/>
          </p:nvSpPr>
          <p:spPr bwMode="auto">
            <a:xfrm>
              <a:off x="8615236" y="3361970"/>
              <a:ext cx="306388" cy="801688"/>
            </a:xfrm>
            <a:custGeom>
              <a:avLst/>
              <a:gdLst>
                <a:gd name="T0" fmla="*/ 169 w 193"/>
                <a:gd name="T1" fmla="*/ 38 h 505"/>
                <a:gd name="T2" fmla="*/ 155 w 193"/>
                <a:gd name="T3" fmla="*/ 63 h 505"/>
                <a:gd name="T4" fmla="*/ 155 w 193"/>
                <a:gd name="T5" fmla="*/ 89 h 505"/>
                <a:gd name="T6" fmla="*/ 174 w 193"/>
                <a:gd name="T7" fmla="*/ 119 h 505"/>
                <a:gd name="T8" fmla="*/ 179 w 193"/>
                <a:gd name="T9" fmla="*/ 145 h 505"/>
                <a:gd name="T10" fmla="*/ 186 w 193"/>
                <a:gd name="T11" fmla="*/ 177 h 505"/>
                <a:gd name="T12" fmla="*/ 165 w 193"/>
                <a:gd name="T13" fmla="*/ 200 h 505"/>
                <a:gd name="T14" fmla="*/ 158 w 193"/>
                <a:gd name="T15" fmla="*/ 219 h 505"/>
                <a:gd name="T16" fmla="*/ 125 w 193"/>
                <a:gd name="T17" fmla="*/ 240 h 505"/>
                <a:gd name="T18" fmla="*/ 146 w 193"/>
                <a:gd name="T19" fmla="*/ 263 h 505"/>
                <a:gd name="T20" fmla="*/ 155 w 193"/>
                <a:gd name="T21" fmla="*/ 282 h 505"/>
                <a:gd name="T22" fmla="*/ 176 w 193"/>
                <a:gd name="T23" fmla="*/ 298 h 505"/>
                <a:gd name="T24" fmla="*/ 169 w 193"/>
                <a:gd name="T25" fmla="*/ 333 h 505"/>
                <a:gd name="T26" fmla="*/ 172 w 193"/>
                <a:gd name="T27" fmla="*/ 354 h 505"/>
                <a:gd name="T28" fmla="*/ 181 w 193"/>
                <a:gd name="T29" fmla="*/ 368 h 505"/>
                <a:gd name="T30" fmla="*/ 179 w 193"/>
                <a:gd name="T31" fmla="*/ 400 h 505"/>
                <a:gd name="T32" fmla="*/ 169 w 193"/>
                <a:gd name="T33" fmla="*/ 423 h 505"/>
                <a:gd name="T34" fmla="*/ 162 w 193"/>
                <a:gd name="T35" fmla="*/ 463 h 505"/>
                <a:gd name="T36" fmla="*/ 144 w 193"/>
                <a:gd name="T37" fmla="*/ 470 h 505"/>
                <a:gd name="T38" fmla="*/ 109 w 193"/>
                <a:gd name="T39" fmla="*/ 486 h 505"/>
                <a:gd name="T40" fmla="*/ 86 w 193"/>
                <a:gd name="T41" fmla="*/ 502 h 505"/>
                <a:gd name="T42" fmla="*/ 48 w 193"/>
                <a:gd name="T43" fmla="*/ 491 h 505"/>
                <a:gd name="T44" fmla="*/ 44 w 193"/>
                <a:gd name="T45" fmla="*/ 479 h 505"/>
                <a:gd name="T46" fmla="*/ 34 w 193"/>
                <a:gd name="T47" fmla="*/ 451 h 505"/>
                <a:gd name="T48" fmla="*/ 41 w 193"/>
                <a:gd name="T49" fmla="*/ 442 h 505"/>
                <a:gd name="T50" fmla="*/ 20 w 193"/>
                <a:gd name="T51" fmla="*/ 416 h 505"/>
                <a:gd name="T52" fmla="*/ 23 w 193"/>
                <a:gd name="T53" fmla="*/ 388 h 505"/>
                <a:gd name="T54" fmla="*/ 46 w 193"/>
                <a:gd name="T55" fmla="*/ 419 h 505"/>
                <a:gd name="T56" fmla="*/ 60 w 193"/>
                <a:gd name="T57" fmla="*/ 421 h 505"/>
                <a:gd name="T58" fmla="*/ 72 w 193"/>
                <a:gd name="T59" fmla="*/ 412 h 505"/>
                <a:gd name="T60" fmla="*/ 65 w 193"/>
                <a:gd name="T61" fmla="*/ 414 h 505"/>
                <a:gd name="T62" fmla="*/ 44 w 193"/>
                <a:gd name="T63" fmla="*/ 400 h 505"/>
                <a:gd name="T64" fmla="*/ 53 w 193"/>
                <a:gd name="T65" fmla="*/ 328 h 505"/>
                <a:gd name="T66" fmla="*/ 46 w 193"/>
                <a:gd name="T67" fmla="*/ 309 h 505"/>
                <a:gd name="T68" fmla="*/ 74 w 193"/>
                <a:gd name="T69" fmla="*/ 272 h 505"/>
                <a:gd name="T70" fmla="*/ 83 w 193"/>
                <a:gd name="T71" fmla="*/ 263 h 505"/>
                <a:gd name="T72" fmla="*/ 76 w 193"/>
                <a:gd name="T73" fmla="*/ 251 h 505"/>
                <a:gd name="T74" fmla="*/ 93 w 193"/>
                <a:gd name="T75" fmla="*/ 233 h 505"/>
                <a:gd name="T76" fmla="*/ 100 w 193"/>
                <a:gd name="T77" fmla="*/ 207 h 505"/>
                <a:gd name="T78" fmla="*/ 79 w 193"/>
                <a:gd name="T79" fmla="*/ 224 h 505"/>
                <a:gd name="T80" fmla="*/ 67 w 193"/>
                <a:gd name="T81" fmla="*/ 210 h 505"/>
                <a:gd name="T82" fmla="*/ 55 w 193"/>
                <a:gd name="T83" fmla="*/ 226 h 505"/>
                <a:gd name="T84" fmla="*/ 41 w 193"/>
                <a:gd name="T85" fmla="*/ 233 h 505"/>
                <a:gd name="T86" fmla="*/ 37 w 193"/>
                <a:gd name="T87" fmla="*/ 217 h 505"/>
                <a:gd name="T88" fmla="*/ 39 w 193"/>
                <a:gd name="T89" fmla="*/ 203 h 505"/>
                <a:gd name="T90" fmla="*/ 20 w 193"/>
                <a:gd name="T91" fmla="*/ 191 h 505"/>
                <a:gd name="T92" fmla="*/ 20 w 193"/>
                <a:gd name="T93" fmla="*/ 172 h 505"/>
                <a:gd name="T94" fmla="*/ 0 w 193"/>
                <a:gd name="T95" fmla="*/ 128 h 505"/>
                <a:gd name="T96" fmla="*/ 25 w 193"/>
                <a:gd name="T97" fmla="*/ 86 h 505"/>
                <a:gd name="T98" fmla="*/ 44 w 193"/>
                <a:gd name="T99" fmla="*/ 59 h 505"/>
                <a:gd name="T100" fmla="*/ 65 w 193"/>
                <a:gd name="T101" fmla="*/ 52 h 505"/>
                <a:gd name="T102" fmla="*/ 76 w 193"/>
                <a:gd name="T103" fmla="*/ 42 h 505"/>
                <a:gd name="T104" fmla="*/ 90 w 193"/>
                <a:gd name="T105" fmla="*/ 42 h 505"/>
                <a:gd name="T106" fmla="*/ 95 w 193"/>
                <a:gd name="T107" fmla="*/ 35 h 505"/>
                <a:gd name="T108" fmla="*/ 107 w 193"/>
                <a:gd name="T109" fmla="*/ 26 h 505"/>
                <a:gd name="T110" fmla="*/ 121 w 193"/>
                <a:gd name="T111" fmla="*/ 19 h 505"/>
                <a:gd name="T112" fmla="*/ 148 w 193"/>
                <a:gd name="T113" fmla="*/ 3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 h="505">
                  <a:moveTo>
                    <a:pt x="162" y="26"/>
                  </a:moveTo>
                  <a:lnTo>
                    <a:pt x="162" y="28"/>
                  </a:lnTo>
                  <a:lnTo>
                    <a:pt x="169" y="26"/>
                  </a:lnTo>
                  <a:lnTo>
                    <a:pt x="172" y="28"/>
                  </a:lnTo>
                  <a:lnTo>
                    <a:pt x="169" y="31"/>
                  </a:lnTo>
                  <a:lnTo>
                    <a:pt x="169" y="33"/>
                  </a:lnTo>
                  <a:lnTo>
                    <a:pt x="169" y="33"/>
                  </a:lnTo>
                  <a:lnTo>
                    <a:pt x="169" y="38"/>
                  </a:lnTo>
                  <a:lnTo>
                    <a:pt x="160" y="42"/>
                  </a:lnTo>
                  <a:lnTo>
                    <a:pt x="158" y="45"/>
                  </a:lnTo>
                  <a:lnTo>
                    <a:pt x="158" y="47"/>
                  </a:lnTo>
                  <a:lnTo>
                    <a:pt x="153" y="52"/>
                  </a:lnTo>
                  <a:lnTo>
                    <a:pt x="155" y="54"/>
                  </a:lnTo>
                  <a:lnTo>
                    <a:pt x="158" y="59"/>
                  </a:lnTo>
                  <a:lnTo>
                    <a:pt x="158" y="63"/>
                  </a:lnTo>
                  <a:lnTo>
                    <a:pt x="155" y="63"/>
                  </a:lnTo>
                  <a:lnTo>
                    <a:pt x="153" y="68"/>
                  </a:lnTo>
                  <a:lnTo>
                    <a:pt x="151" y="70"/>
                  </a:lnTo>
                  <a:lnTo>
                    <a:pt x="151" y="72"/>
                  </a:lnTo>
                  <a:lnTo>
                    <a:pt x="153" y="77"/>
                  </a:lnTo>
                  <a:lnTo>
                    <a:pt x="153" y="79"/>
                  </a:lnTo>
                  <a:lnTo>
                    <a:pt x="151" y="82"/>
                  </a:lnTo>
                  <a:lnTo>
                    <a:pt x="151" y="84"/>
                  </a:lnTo>
                  <a:lnTo>
                    <a:pt x="155" y="89"/>
                  </a:lnTo>
                  <a:lnTo>
                    <a:pt x="160" y="91"/>
                  </a:lnTo>
                  <a:lnTo>
                    <a:pt x="169" y="86"/>
                  </a:lnTo>
                  <a:lnTo>
                    <a:pt x="172" y="84"/>
                  </a:lnTo>
                  <a:lnTo>
                    <a:pt x="174" y="82"/>
                  </a:lnTo>
                  <a:lnTo>
                    <a:pt x="176" y="91"/>
                  </a:lnTo>
                  <a:lnTo>
                    <a:pt x="183" y="100"/>
                  </a:lnTo>
                  <a:lnTo>
                    <a:pt x="179" y="112"/>
                  </a:lnTo>
                  <a:lnTo>
                    <a:pt x="174" y="119"/>
                  </a:lnTo>
                  <a:lnTo>
                    <a:pt x="174" y="121"/>
                  </a:lnTo>
                  <a:lnTo>
                    <a:pt x="181" y="126"/>
                  </a:lnTo>
                  <a:lnTo>
                    <a:pt x="181" y="128"/>
                  </a:lnTo>
                  <a:lnTo>
                    <a:pt x="181" y="131"/>
                  </a:lnTo>
                  <a:lnTo>
                    <a:pt x="181" y="133"/>
                  </a:lnTo>
                  <a:lnTo>
                    <a:pt x="176" y="135"/>
                  </a:lnTo>
                  <a:lnTo>
                    <a:pt x="179" y="140"/>
                  </a:lnTo>
                  <a:lnTo>
                    <a:pt x="179" y="145"/>
                  </a:lnTo>
                  <a:lnTo>
                    <a:pt x="188" y="154"/>
                  </a:lnTo>
                  <a:lnTo>
                    <a:pt x="188" y="158"/>
                  </a:lnTo>
                  <a:lnTo>
                    <a:pt x="193" y="161"/>
                  </a:lnTo>
                  <a:lnTo>
                    <a:pt x="190" y="170"/>
                  </a:lnTo>
                  <a:lnTo>
                    <a:pt x="193" y="172"/>
                  </a:lnTo>
                  <a:lnTo>
                    <a:pt x="190" y="177"/>
                  </a:lnTo>
                  <a:lnTo>
                    <a:pt x="188" y="175"/>
                  </a:lnTo>
                  <a:lnTo>
                    <a:pt x="186" y="177"/>
                  </a:lnTo>
                  <a:lnTo>
                    <a:pt x="179" y="175"/>
                  </a:lnTo>
                  <a:lnTo>
                    <a:pt x="174" y="177"/>
                  </a:lnTo>
                  <a:lnTo>
                    <a:pt x="172" y="182"/>
                  </a:lnTo>
                  <a:lnTo>
                    <a:pt x="172" y="186"/>
                  </a:lnTo>
                  <a:lnTo>
                    <a:pt x="172" y="189"/>
                  </a:lnTo>
                  <a:lnTo>
                    <a:pt x="162" y="196"/>
                  </a:lnTo>
                  <a:lnTo>
                    <a:pt x="162" y="198"/>
                  </a:lnTo>
                  <a:lnTo>
                    <a:pt x="165" y="200"/>
                  </a:lnTo>
                  <a:lnTo>
                    <a:pt x="165" y="203"/>
                  </a:lnTo>
                  <a:lnTo>
                    <a:pt x="165" y="210"/>
                  </a:lnTo>
                  <a:lnTo>
                    <a:pt x="165" y="212"/>
                  </a:lnTo>
                  <a:lnTo>
                    <a:pt x="165" y="217"/>
                  </a:lnTo>
                  <a:lnTo>
                    <a:pt x="162" y="219"/>
                  </a:lnTo>
                  <a:lnTo>
                    <a:pt x="162" y="221"/>
                  </a:lnTo>
                  <a:lnTo>
                    <a:pt x="160" y="221"/>
                  </a:lnTo>
                  <a:lnTo>
                    <a:pt x="158" y="219"/>
                  </a:lnTo>
                  <a:lnTo>
                    <a:pt x="153" y="219"/>
                  </a:lnTo>
                  <a:lnTo>
                    <a:pt x="151" y="221"/>
                  </a:lnTo>
                  <a:lnTo>
                    <a:pt x="144" y="221"/>
                  </a:lnTo>
                  <a:lnTo>
                    <a:pt x="142" y="224"/>
                  </a:lnTo>
                  <a:lnTo>
                    <a:pt x="132" y="233"/>
                  </a:lnTo>
                  <a:lnTo>
                    <a:pt x="132" y="235"/>
                  </a:lnTo>
                  <a:lnTo>
                    <a:pt x="128" y="235"/>
                  </a:lnTo>
                  <a:lnTo>
                    <a:pt x="125" y="240"/>
                  </a:lnTo>
                  <a:lnTo>
                    <a:pt x="128" y="244"/>
                  </a:lnTo>
                  <a:lnTo>
                    <a:pt x="130" y="249"/>
                  </a:lnTo>
                  <a:lnTo>
                    <a:pt x="135" y="254"/>
                  </a:lnTo>
                  <a:lnTo>
                    <a:pt x="137" y="256"/>
                  </a:lnTo>
                  <a:lnTo>
                    <a:pt x="135" y="261"/>
                  </a:lnTo>
                  <a:lnTo>
                    <a:pt x="137" y="263"/>
                  </a:lnTo>
                  <a:lnTo>
                    <a:pt x="139" y="263"/>
                  </a:lnTo>
                  <a:lnTo>
                    <a:pt x="146" y="263"/>
                  </a:lnTo>
                  <a:lnTo>
                    <a:pt x="148" y="265"/>
                  </a:lnTo>
                  <a:lnTo>
                    <a:pt x="148" y="265"/>
                  </a:lnTo>
                  <a:lnTo>
                    <a:pt x="148" y="270"/>
                  </a:lnTo>
                  <a:lnTo>
                    <a:pt x="151" y="270"/>
                  </a:lnTo>
                  <a:lnTo>
                    <a:pt x="148" y="275"/>
                  </a:lnTo>
                  <a:lnTo>
                    <a:pt x="148" y="277"/>
                  </a:lnTo>
                  <a:lnTo>
                    <a:pt x="153" y="277"/>
                  </a:lnTo>
                  <a:lnTo>
                    <a:pt x="155" y="282"/>
                  </a:lnTo>
                  <a:lnTo>
                    <a:pt x="158" y="282"/>
                  </a:lnTo>
                  <a:lnTo>
                    <a:pt x="162" y="282"/>
                  </a:lnTo>
                  <a:lnTo>
                    <a:pt x="162" y="282"/>
                  </a:lnTo>
                  <a:lnTo>
                    <a:pt x="165" y="284"/>
                  </a:lnTo>
                  <a:lnTo>
                    <a:pt x="167" y="286"/>
                  </a:lnTo>
                  <a:lnTo>
                    <a:pt x="169" y="289"/>
                  </a:lnTo>
                  <a:lnTo>
                    <a:pt x="169" y="293"/>
                  </a:lnTo>
                  <a:lnTo>
                    <a:pt x="176" y="298"/>
                  </a:lnTo>
                  <a:lnTo>
                    <a:pt x="176" y="305"/>
                  </a:lnTo>
                  <a:lnTo>
                    <a:pt x="181" y="312"/>
                  </a:lnTo>
                  <a:lnTo>
                    <a:pt x="183" y="314"/>
                  </a:lnTo>
                  <a:lnTo>
                    <a:pt x="183" y="319"/>
                  </a:lnTo>
                  <a:lnTo>
                    <a:pt x="181" y="321"/>
                  </a:lnTo>
                  <a:lnTo>
                    <a:pt x="174" y="321"/>
                  </a:lnTo>
                  <a:lnTo>
                    <a:pt x="169" y="326"/>
                  </a:lnTo>
                  <a:lnTo>
                    <a:pt x="169" y="333"/>
                  </a:lnTo>
                  <a:lnTo>
                    <a:pt x="162" y="340"/>
                  </a:lnTo>
                  <a:lnTo>
                    <a:pt x="162" y="344"/>
                  </a:lnTo>
                  <a:lnTo>
                    <a:pt x="162" y="347"/>
                  </a:lnTo>
                  <a:lnTo>
                    <a:pt x="165" y="347"/>
                  </a:lnTo>
                  <a:lnTo>
                    <a:pt x="165" y="349"/>
                  </a:lnTo>
                  <a:lnTo>
                    <a:pt x="167" y="349"/>
                  </a:lnTo>
                  <a:lnTo>
                    <a:pt x="169" y="354"/>
                  </a:lnTo>
                  <a:lnTo>
                    <a:pt x="172" y="354"/>
                  </a:lnTo>
                  <a:lnTo>
                    <a:pt x="174" y="351"/>
                  </a:lnTo>
                  <a:lnTo>
                    <a:pt x="176" y="351"/>
                  </a:lnTo>
                  <a:lnTo>
                    <a:pt x="176" y="354"/>
                  </a:lnTo>
                  <a:lnTo>
                    <a:pt x="179" y="356"/>
                  </a:lnTo>
                  <a:lnTo>
                    <a:pt x="176" y="361"/>
                  </a:lnTo>
                  <a:lnTo>
                    <a:pt x="179" y="363"/>
                  </a:lnTo>
                  <a:lnTo>
                    <a:pt x="179" y="368"/>
                  </a:lnTo>
                  <a:lnTo>
                    <a:pt x="181" y="368"/>
                  </a:lnTo>
                  <a:lnTo>
                    <a:pt x="183" y="372"/>
                  </a:lnTo>
                  <a:lnTo>
                    <a:pt x="186" y="379"/>
                  </a:lnTo>
                  <a:lnTo>
                    <a:pt x="190" y="388"/>
                  </a:lnTo>
                  <a:lnTo>
                    <a:pt x="188" y="391"/>
                  </a:lnTo>
                  <a:lnTo>
                    <a:pt x="186" y="395"/>
                  </a:lnTo>
                  <a:lnTo>
                    <a:pt x="186" y="395"/>
                  </a:lnTo>
                  <a:lnTo>
                    <a:pt x="181" y="395"/>
                  </a:lnTo>
                  <a:lnTo>
                    <a:pt x="179" y="400"/>
                  </a:lnTo>
                  <a:lnTo>
                    <a:pt x="176" y="407"/>
                  </a:lnTo>
                  <a:lnTo>
                    <a:pt x="172" y="409"/>
                  </a:lnTo>
                  <a:lnTo>
                    <a:pt x="172" y="412"/>
                  </a:lnTo>
                  <a:lnTo>
                    <a:pt x="172" y="414"/>
                  </a:lnTo>
                  <a:lnTo>
                    <a:pt x="174" y="414"/>
                  </a:lnTo>
                  <a:lnTo>
                    <a:pt x="174" y="416"/>
                  </a:lnTo>
                  <a:lnTo>
                    <a:pt x="172" y="421"/>
                  </a:lnTo>
                  <a:lnTo>
                    <a:pt x="169" y="423"/>
                  </a:lnTo>
                  <a:lnTo>
                    <a:pt x="169" y="423"/>
                  </a:lnTo>
                  <a:lnTo>
                    <a:pt x="169" y="428"/>
                  </a:lnTo>
                  <a:lnTo>
                    <a:pt x="169" y="430"/>
                  </a:lnTo>
                  <a:lnTo>
                    <a:pt x="167" y="447"/>
                  </a:lnTo>
                  <a:lnTo>
                    <a:pt x="167" y="451"/>
                  </a:lnTo>
                  <a:lnTo>
                    <a:pt x="169" y="456"/>
                  </a:lnTo>
                  <a:lnTo>
                    <a:pt x="167" y="461"/>
                  </a:lnTo>
                  <a:lnTo>
                    <a:pt x="162" y="463"/>
                  </a:lnTo>
                  <a:lnTo>
                    <a:pt x="160" y="463"/>
                  </a:lnTo>
                  <a:lnTo>
                    <a:pt x="155" y="468"/>
                  </a:lnTo>
                  <a:lnTo>
                    <a:pt x="151" y="468"/>
                  </a:lnTo>
                  <a:lnTo>
                    <a:pt x="146" y="463"/>
                  </a:lnTo>
                  <a:lnTo>
                    <a:pt x="146" y="463"/>
                  </a:lnTo>
                  <a:lnTo>
                    <a:pt x="144" y="465"/>
                  </a:lnTo>
                  <a:lnTo>
                    <a:pt x="146" y="468"/>
                  </a:lnTo>
                  <a:lnTo>
                    <a:pt x="144" y="470"/>
                  </a:lnTo>
                  <a:lnTo>
                    <a:pt x="142" y="470"/>
                  </a:lnTo>
                  <a:lnTo>
                    <a:pt x="135" y="477"/>
                  </a:lnTo>
                  <a:lnTo>
                    <a:pt x="128" y="481"/>
                  </a:lnTo>
                  <a:lnTo>
                    <a:pt x="128" y="481"/>
                  </a:lnTo>
                  <a:lnTo>
                    <a:pt x="123" y="481"/>
                  </a:lnTo>
                  <a:lnTo>
                    <a:pt x="118" y="481"/>
                  </a:lnTo>
                  <a:lnTo>
                    <a:pt x="114" y="486"/>
                  </a:lnTo>
                  <a:lnTo>
                    <a:pt x="109" y="486"/>
                  </a:lnTo>
                  <a:lnTo>
                    <a:pt x="109" y="488"/>
                  </a:lnTo>
                  <a:lnTo>
                    <a:pt x="109" y="498"/>
                  </a:lnTo>
                  <a:lnTo>
                    <a:pt x="107" y="500"/>
                  </a:lnTo>
                  <a:lnTo>
                    <a:pt x="100" y="500"/>
                  </a:lnTo>
                  <a:lnTo>
                    <a:pt x="97" y="505"/>
                  </a:lnTo>
                  <a:lnTo>
                    <a:pt x="95" y="505"/>
                  </a:lnTo>
                  <a:lnTo>
                    <a:pt x="90" y="505"/>
                  </a:lnTo>
                  <a:lnTo>
                    <a:pt x="86" y="502"/>
                  </a:lnTo>
                  <a:lnTo>
                    <a:pt x="83" y="505"/>
                  </a:lnTo>
                  <a:lnTo>
                    <a:pt x="81" y="502"/>
                  </a:lnTo>
                  <a:lnTo>
                    <a:pt x="79" y="502"/>
                  </a:lnTo>
                  <a:lnTo>
                    <a:pt x="76" y="498"/>
                  </a:lnTo>
                  <a:lnTo>
                    <a:pt x="72" y="495"/>
                  </a:lnTo>
                  <a:lnTo>
                    <a:pt x="58" y="498"/>
                  </a:lnTo>
                  <a:lnTo>
                    <a:pt x="53" y="493"/>
                  </a:lnTo>
                  <a:lnTo>
                    <a:pt x="48" y="491"/>
                  </a:lnTo>
                  <a:lnTo>
                    <a:pt x="46" y="491"/>
                  </a:lnTo>
                  <a:lnTo>
                    <a:pt x="46" y="488"/>
                  </a:lnTo>
                  <a:lnTo>
                    <a:pt x="46" y="486"/>
                  </a:lnTo>
                  <a:lnTo>
                    <a:pt x="44" y="481"/>
                  </a:lnTo>
                  <a:lnTo>
                    <a:pt x="44" y="481"/>
                  </a:lnTo>
                  <a:lnTo>
                    <a:pt x="44" y="479"/>
                  </a:lnTo>
                  <a:lnTo>
                    <a:pt x="44" y="479"/>
                  </a:lnTo>
                  <a:lnTo>
                    <a:pt x="44" y="479"/>
                  </a:lnTo>
                  <a:lnTo>
                    <a:pt x="44" y="474"/>
                  </a:lnTo>
                  <a:lnTo>
                    <a:pt x="41" y="470"/>
                  </a:lnTo>
                  <a:lnTo>
                    <a:pt x="39" y="463"/>
                  </a:lnTo>
                  <a:lnTo>
                    <a:pt x="39" y="461"/>
                  </a:lnTo>
                  <a:lnTo>
                    <a:pt x="34" y="454"/>
                  </a:lnTo>
                  <a:lnTo>
                    <a:pt x="34" y="451"/>
                  </a:lnTo>
                  <a:lnTo>
                    <a:pt x="34" y="451"/>
                  </a:lnTo>
                  <a:lnTo>
                    <a:pt x="34" y="451"/>
                  </a:lnTo>
                  <a:lnTo>
                    <a:pt x="34" y="451"/>
                  </a:lnTo>
                  <a:lnTo>
                    <a:pt x="34" y="449"/>
                  </a:lnTo>
                  <a:lnTo>
                    <a:pt x="41" y="447"/>
                  </a:lnTo>
                  <a:lnTo>
                    <a:pt x="41" y="447"/>
                  </a:lnTo>
                  <a:lnTo>
                    <a:pt x="41" y="447"/>
                  </a:lnTo>
                  <a:lnTo>
                    <a:pt x="41" y="444"/>
                  </a:lnTo>
                  <a:lnTo>
                    <a:pt x="41" y="442"/>
                  </a:lnTo>
                  <a:lnTo>
                    <a:pt x="41" y="442"/>
                  </a:lnTo>
                  <a:lnTo>
                    <a:pt x="37" y="435"/>
                  </a:lnTo>
                  <a:lnTo>
                    <a:pt x="30" y="428"/>
                  </a:lnTo>
                  <a:lnTo>
                    <a:pt x="27" y="426"/>
                  </a:lnTo>
                  <a:lnTo>
                    <a:pt x="23" y="423"/>
                  </a:lnTo>
                  <a:lnTo>
                    <a:pt x="20" y="423"/>
                  </a:lnTo>
                  <a:lnTo>
                    <a:pt x="23" y="419"/>
                  </a:lnTo>
                  <a:lnTo>
                    <a:pt x="20" y="416"/>
                  </a:lnTo>
                  <a:lnTo>
                    <a:pt x="20" y="416"/>
                  </a:lnTo>
                  <a:lnTo>
                    <a:pt x="20" y="412"/>
                  </a:lnTo>
                  <a:lnTo>
                    <a:pt x="18" y="405"/>
                  </a:lnTo>
                  <a:lnTo>
                    <a:pt x="14" y="398"/>
                  </a:lnTo>
                  <a:lnTo>
                    <a:pt x="14" y="393"/>
                  </a:lnTo>
                  <a:lnTo>
                    <a:pt x="14" y="391"/>
                  </a:lnTo>
                  <a:lnTo>
                    <a:pt x="16" y="388"/>
                  </a:lnTo>
                  <a:lnTo>
                    <a:pt x="18" y="388"/>
                  </a:lnTo>
                  <a:lnTo>
                    <a:pt x="23" y="388"/>
                  </a:lnTo>
                  <a:lnTo>
                    <a:pt x="25" y="386"/>
                  </a:lnTo>
                  <a:lnTo>
                    <a:pt x="32" y="384"/>
                  </a:lnTo>
                  <a:lnTo>
                    <a:pt x="34" y="384"/>
                  </a:lnTo>
                  <a:lnTo>
                    <a:pt x="37" y="388"/>
                  </a:lnTo>
                  <a:lnTo>
                    <a:pt x="41" y="412"/>
                  </a:lnTo>
                  <a:lnTo>
                    <a:pt x="44" y="414"/>
                  </a:lnTo>
                  <a:lnTo>
                    <a:pt x="44" y="416"/>
                  </a:lnTo>
                  <a:lnTo>
                    <a:pt x="46" y="419"/>
                  </a:lnTo>
                  <a:lnTo>
                    <a:pt x="51" y="421"/>
                  </a:lnTo>
                  <a:lnTo>
                    <a:pt x="53" y="421"/>
                  </a:lnTo>
                  <a:lnTo>
                    <a:pt x="53" y="421"/>
                  </a:lnTo>
                  <a:lnTo>
                    <a:pt x="55" y="421"/>
                  </a:lnTo>
                  <a:lnTo>
                    <a:pt x="55" y="419"/>
                  </a:lnTo>
                  <a:lnTo>
                    <a:pt x="55" y="419"/>
                  </a:lnTo>
                  <a:lnTo>
                    <a:pt x="58" y="419"/>
                  </a:lnTo>
                  <a:lnTo>
                    <a:pt x="60" y="421"/>
                  </a:lnTo>
                  <a:lnTo>
                    <a:pt x="60" y="421"/>
                  </a:lnTo>
                  <a:lnTo>
                    <a:pt x="62" y="421"/>
                  </a:lnTo>
                  <a:lnTo>
                    <a:pt x="65" y="421"/>
                  </a:lnTo>
                  <a:lnTo>
                    <a:pt x="69" y="419"/>
                  </a:lnTo>
                  <a:lnTo>
                    <a:pt x="67" y="416"/>
                  </a:lnTo>
                  <a:lnTo>
                    <a:pt x="69" y="414"/>
                  </a:lnTo>
                  <a:lnTo>
                    <a:pt x="69" y="414"/>
                  </a:lnTo>
                  <a:lnTo>
                    <a:pt x="72" y="412"/>
                  </a:lnTo>
                  <a:lnTo>
                    <a:pt x="72" y="412"/>
                  </a:lnTo>
                  <a:lnTo>
                    <a:pt x="74" y="412"/>
                  </a:lnTo>
                  <a:lnTo>
                    <a:pt x="74" y="412"/>
                  </a:lnTo>
                  <a:lnTo>
                    <a:pt x="76" y="412"/>
                  </a:lnTo>
                  <a:lnTo>
                    <a:pt x="74" y="412"/>
                  </a:lnTo>
                  <a:lnTo>
                    <a:pt x="67" y="412"/>
                  </a:lnTo>
                  <a:lnTo>
                    <a:pt x="67" y="412"/>
                  </a:lnTo>
                  <a:lnTo>
                    <a:pt x="65" y="414"/>
                  </a:lnTo>
                  <a:lnTo>
                    <a:pt x="62" y="416"/>
                  </a:lnTo>
                  <a:lnTo>
                    <a:pt x="60" y="416"/>
                  </a:lnTo>
                  <a:lnTo>
                    <a:pt x="60" y="416"/>
                  </a:lnTo>
                  <a:lnTo>
                    <a:pt x="55" y="414"/>
                  </a:lnTo>
                  <a:lnTo>
                    <a:pt x="53" y="412"/>
                  </a:lnTo>
                  <a:lnTo>
                    <a:pt x="51" y="412"/>
                  </a:lnTo>
                  <a:lnTo>
                    <a:pt x="46" y="407"/>
                  </a:lnTo>
                  <a:lnTo>
                    <a:pt x="44" y="400"/>
                  </a:lnTo>
                  <a:lnTo>
                    <a:pt x="41" y="395"/>
                  </a:lnTo>
                  <a:lnTo>
                    <a:pt x="34" y="375"/>
                  </a:lnTo>
                  <a:lnTo>
                    <a:pt x="32" y="358"/>
                  </a:lnTo>
                  <a:lnTo>
                    <a:pt x="30" y="356"/>
                  </a:lnTo>
                  <a:lnTo>
                    <a:pt x="32" y="351"/>
                  </a:lnTo>
                  <a:lnTo>
                    <a:pt x="34" y="349"/>
                  </a:lnTo>
                  <a:lnTo>
                    <a:pt x="46" y="335"/>
                  </a:lnTo>
                  <a:lnTo>
                    <a:pt x="53" y="328"/>
                  </a:lnTo>
                  <a:lnTo>
                    <a:pt x="55" y="328"/>
                  </a:lnTo>
                  <a:lnTo>
                    <a:pt x="58" y="326"/>
                  </a:lnTo>
                  <a:lnTo>
                    <a:pt x="58" y="326"/>
                  </a:lnTo>
                  <a:lnTo>
                    <a:pt x="62" y="323"/>
                  </a:lnTo>
                  <a:lnTo>
                    <a:pt x="65" y="321"/>
                  </a:lnTo>
                  <a:lnTo>
                    <a:pt x="53" y="319"/>
                  </a:lnTo>
                  <a:lnTo>
                    <a:pt x="48" y="316"/>
                  </a:lnTo>
                  <a:lnTo>
                    <a:pt x="46" y="309"/>
                  </a:lnTo>
                  <a:lnTo>
                    <a:pt x="46" y="303"/>
                  </a:lnTo>
                  <a:lnTo>
                    <a:pt x="51" y="286"/>
                  </a:lnTo>
                  <a:lnTo>
                    <a:pt x="51" y="279"/>
                  </a:lnTo>
                  <a:lnTo>
                    <a:pt x="53" y="275"/>
                  </a:lnTo>
                  <a:lnTo>
                    <a:pt x="58" y="275"/>
                  </a:lnTo>
                  <a:lnTo>
                    <a:pt x="69" y="272"/>
                  </a:lnTo>
                  <a:lnTo>
                    <a:pt x="72" y="272"/>
                  </a:lnTo>
                  <a:lnTo>
                    <a:pt x="74" y="272"/>
                  </a:lnTo>
                  <a:lnTo>
                    <a:pt x="74" y="275"/>
                  </a:lnTo>
                  <a:lnTo>
                    <a:pt x="76" y="272"/>
                  </a:lnTo>
                  <a:lnTo>
                    <a:pt x="76" y="272"/>
                  </a:lnTo>
                  <a:lnTo>
                    <a:pt x="76" y="270"/>
                  </a:lnTo>
                  <a:lnTo>
                    <a:pt x="79" y="270"/>
                  </a:lnTo>
                  <a:lnTo>
                    <a:pt x="79" y="270"/>
                  </a:lnTo>
                  <a:lnTo>
                    <a:pt x="79" y="268"/>
                  </a:lnTo>
                  <a:lnTo>
                    <a:pt x="83" y="263"/>
                  </a:lnTo>
                  <a:lnTo>
                    <a:pt x="86" y="258"/>
                  </a:lnTo>
                  <a:lnTo>
                    <a:pt x="83" y="261"/>
                  </a:lnTo>
                  <a:lnTo>
                    <a:pt x="81" y="261"/>
                  </a:lnTo>
                  <a:lnTo>
                    <a:pt x="76" y="261"/>
                  </a:lnTo>
                  <a:lnTo>
                    <a:pt x="76" y="261"/>
                  </a:lnTo>
                  <a:lnTo>
                    <a:pt x="74" y="256"/>
                  </a:lnTo>
                  <a:lnTo>
                    <a:pt x="74" y="254"/>
                  </a:lnTo>
                  <a:lnTo>
                    <a:pt x="76" y="251"/>
                  </a:lnTo>
                  <a:lnTo>
                    <a:pt x="76" y="251"/>
                  </a:lnTo>
                  <a:lnTo>
                    <a:pt x="79" y="251"/>
                  </a:lnTo>
                  <a:lnTo>
                    <a:pt x="81" y="247"/>
                  </a:lnTo>
                  <a:lnTo>
                    <a:pt x="83" y="244"/>
                  </a:lnTo>
                  <a:lnTo>
                    <a:pt x="88" y="242"/>
                  </a:lnTo>
                  <a:lnTo>
                    <a:pt x="90" y="242"/>
                  </a:lnTo>
                  <a:lnTo>
                    <a:pt x="95" y="235"/>
                  </a:lnTo>
                  <a:lnTo>
                    <a:pt x="93" y="233"/>
                  </a:lnTo>
                  <a:lnTo>
                    <a:pt x="90" y="226"/>
                  </a:lnTo>
                  <a:lnTo>
                    <a:pt x="90" y="226"/>
                  </a:lnTo>
                  <a:lnTo>
                    <a:pt x="88" y="221"/>
                  </a:lnTo>
                  <a:lnTo>
                    <a:pt x="88" y="219"/>
                  </a:lnTo>
                  <a:lnTo>
                    <a:pt x="93" y="219"/>
                  </a:lnTo>
                  <a:lnTo>
                    <a:pt x="95" y="217"/>
                  </a:lnTo>
                  <a:lnTo>
                    <a:pt x="97" y="212"/>
                  </a:lnTo>
                  <a:lnTo>
                    <a:pt x="100" y="207"/>
                  </a:lnTo>
                  <a:lnTo>
                    <a:pt x="97" y="207"/>
                  </a:lnTo>
                  <a:lnTo>
                    <a:pt x="97" y="212"/>
                  </a:lnTo>
                  <a:lnTo>
                    <a:pt x="95" y="214"/>
                  </a:lnTo>
                  <a:lnTo>
                    <a:pt x="90" y="217"/>
                  </a:lnTo>
                  <a:lnTo>
                    <a:pt x="86" y="219"/>
                  </a:lnTo>
                  <a:lnTo>
                    <a:pt x="81" y="219"/>
                  </a:lnTo>
                  <a:lnTo>
                    <a:pt x="81" y="221"/>
                  </a:lnTo>
                  <a:lnTo>
                    <a:pt x="79" y="224"/>
                  </a:lnTo>
                  <a:lnTo>
                    <a:pt x="76" y="226"/>
                  </a:lnTo>
                  <a:lnTo>
                    <a:pt x="69" y="226"/>
                  </a:lnTo>
                  <a:lnTo>
                    <a:pt x="69" y="224"/>
                  </a:lnTo>
                  <a:lnTo>
                    <a:pt x="67" y="219"/>
                  </a:lnTo>
                  <a:lnTo>
                    <a:pt x="67" y="217"/>
                  </a:lnTo>
                  <a:lnTo>
                    <a:pt x="69" y="214"/>
                  </a:lnTo>
                  <a:lnTo>
                    <a:pt x="69" y="212"/>
                  </a:lnTo>
                  <a:lnTo>
                    <a:pt x="67" y="210"/>
                  </a:lnTo>
                  <a:lnTo>
                    <a:pt x="67" y="207"/>
                  </a:lnTo>
                  <a:lnTo>
                    <a:pt x="65" y="207"/>
                  </a:lnTo>
                  <a:lnTo>
                    <a:pt x="65" y="212"/>
                  </a:lnTo>
                  <a:lnTo>
                    <a:pt x="65" y="214"/>
                  </a:lnTo>
                  <a:lnTo>
                    <a:pt x="62" y="217"/>
                  </a:lnTo>
                  <a:lnTo>
                    <a:pt x="62" y="219"/>
                  </a:lnTo>
                  <a:lnTo>
                    <a:pt x="60" y="221"/>
                  </a:lnTo>
                  <a:lnTo>
                    <a:pt x="55" y="226"/>
                  </a:lnTo>
                  <a:lnTo>
                    <a:pt x="53" y="230"/>
                  </a:lnTo>
                  <a:lnTo>
                    <a:pt x="51" y="233"/>
                  </a:lnTo>
                  <a:lnTo>
                    <a:pt x="46" y="233"/>
                  </a:lnTo>
                  <a:lnTo>
                    <a:pt x="46" y="235"/>
                  </a:lnTo>
                  <a:lnTo>
                    <a:pt x="46" y="240"/>
                  </a:lnTo>
                  <a:lnTo>
                    <a:pt x="46" y="242"/>
                  </a:lnTo>
                  <a:lnTo>
                    <a:pt x="41" y="235"/>
                  </a:lnTo>
                  <a:lnTo>
                    <a:pt x="41" y="233"/>
                  </a:lnTo>
                  <a:lnTo>
                    <a:pt x="39" y="233"/>
                  </a:lnTo>
                  <a:lnTo>
                    <a:pt x="37" y="230"/>
                  </a:lnTo>
                  <a:lnTo>
                    <a:pt x="37" y="230"/>
                  </a:lnTo>
                  <a:lnTo>
                    <a:pt x="34" y="228"/>
                  </a:lnTo>
                  <a:lnTo>
                    <a:pt x="37" y="226"/>
                  </a:lnTo>
                  <a:lnTo>
                    <a:pt x="37" y="221"/>
                  </a:lnTo>
                  <a:lnTo>
                    <a:pt x="37" y="219"/>
                  </a:lnTo>
                  <a:lnTo>
                    <a:pt x="37" y="217"/>
                  </a:lnTo>
                  <a:lnTo>
                    <a:pt x="37" y="214"/>
                  </a:lnTo>
                  <a:lnTo>
                    <a:pt x="41" y="214"/>
                  </a:lnTo>
                  <a:lnTo>
                    <a:pt x="44" y="207"/>
                  </a:lnTo>
                  <a:lnTo>
                    <a:pt x="44" y="200"/>
                  </a:lnTo>
                  <a:lnTo>
                    <a:pt x="46" y="196"/>
                  </a:lnTo>
                  <a:lnTo>
                    <a:pt x="44" y="196"/>
                  </a:lnTo>
                  <a:lnTo>
                    <a:pt x="41" y="198"/>
                  </a:lnTo>
                  <a:lnTo>
                    <a:pt x="39" y="203"/>
                  </a:lnTo>
                  <a:lnTo>
                    <a:pt x="39" y="207"/>
                  </a:lnTo>
                  <a:lnTo>
                    <a:pt x="37" y="210"/>
                  </a:lnTo>
                  <a:lnTo>
                    <a:pt x="34" y="207"/>
                  </a:lnTo>
                  <a:lnTo>
                    <a:pt x="32" y="207"/>
                  </a:lnTo>
                  <a:lnTo>
                    <a:pt x="30" y="210"/>
                  </a:lnTo>
                  <a:lnTo>
                    <a:pt x="27" y="205"/>
                  </a:lnTo>
                  <a:lnTo>
                    <a:pt x="23" y="196"/>
                  </a:lnTo>
                  <a:lnTo>
                    <a:pt x="20" y="191"/>
                  </a:lnTo>
                  <a:lnTo>
                    <a:pt x="20" y="186"/>
                  </a:lnTo>
                  <a:lnTo>
                    <a:pt x="20" y="184"/>
                  </a:lnTo>
                  <a:lnTo>
                    <a:pt x="20" y="182"/>
                  </a:lnTo>
                  <a:lnTo>
                    <a:pt x="20" y="179"/>
                  </a:lnTo>
                  <a:lnTo>
                    <a:pt x="23" y="179"/>
                  </a:lnTo>
                  <a:lnTo>
                    <a:pt x="20" y="175"/>
                  </a:lnTo>
                  <a:lnTo>
                    <a:pt x="20" y="172"/>
                  </a:lnTo>
                  <a:lnTo>
                    <a:pt x="20" y="172"/>
                  </a:lnTo>
                  <a:lnTo>
                    <a:pt x="18" y="170"/>
                  </a:lnTo>
                  <a:lnTo>
                    <a:pt x="16" y="161"/>
                  </a:lnTo>
                  <a:lnTo>
                    <a:pt x="14" y="156"/>
                  </a:lnTo>
                  <a:lnTo>
                    <a:pt x="4" y="138"/>
                  </a:lnTo>
                  <a:lnTo>
                    <a:pt x="2" y="135"/>
                  </a:lnTo>
                  <a:lnTo>
                    <a:pt x="2" y="135"/>
                  </a:lnTo>
                  <a:lnTo>
                    <a:pt x="2" y="131"/>
                  </a:lnTo>
                  <a:lnTo>
                    <a:pt x="0" y="128"/>
                  </a:lnTo>
                  <a:lnTo>
                    <a:pt x="2" y="128"/>
                  </a:lnTo>
                  <a:lnTo>
                    <a:pt x="2" y="126"/>
                  </a:lnTo>
                  <a:lnTo>
                    <a:pt x="4" y="126"/>
                  </a:lnTo>
                  <a:lnTo>
                    <a:pt x="9" y="119"/>
                  </a:lnTo>
                  <a:lnTo>
                    <a:pt x="14" y="103"/>
                  </a:lnTo>
                  <a:lnTo>
                    <a:pt x="20" y="93"/>
                  </a:lnTo>
                  <a:lnTo>
                    <a:pt x="23" y="86"/>
                  </a:lnTo>
                  <a:lnTo>
                    <a:pt x="25" y="86"/>
                  </a:lnTo>
                  <a:lnTo>
                    <a:pt x="25" y="84"/>
                  </a:lnTo>
                  <a:lnTo>
                    <a:pt x="30" y="84"/>
                  </a:lnTo>
                  <a:lnTo>
                    <a:pt x="30" y="84"/>
                  </a:lnTo>
                  <a:lnTo>
                    <a:pt x="32" y="82"/>
                  </a:lnTo>
                  <a:lnTo>
                    <a:pt x="34" y="79"/>
                  </a:lnTo>
                  <a:lnTo>
                    <a:pt x="37" y="75"/>
                  </a:lnTo>
                  <a:lnTo>
                    <a:pt x="37" y="70"/>
                  </a:lnTo>
                  <a:lnTo>
                    <a:pt x="44" y="59"/>
                  </a:lnTo>
                  <a:lnTo>
                    <a:pt x="46" y="52"/>
                  </a:lnTo>
                  <a:lnTo>
                    <a:pt x="51" y="49"/>
                  </a:lnTo>
                  <a:lnTo>
                    <a:pt x="53" y="49"/>
                  </a:lnTo>
                  <a:lnTo>
                    <a:pt x="55" y="52"/>
                  </a:lnTo>
                  <a:lnTo>
                    <a:pt x="55" y="52"/>
                  </a:lnTo>
                  <a:lnTo>
                    <a:pt x="58" y="54"/>
                  </a:lnTo>
                  <a:lnTo>
                    <a:pt x="60" y="54"/>
                  </a:lnTo>
                  <a:lnTo>
                    <a:pt x="65" y="52"/>
                  </a:lnTo>
                  <a:lnTo>
                    <a:pt x="65" y="49"/>
                  </a:lnTo>
                  <a:lnTo>
                    <a:pt x="58" y="45"/>
                  </a:lnTo>
                  <a:lnTo>
                    <a:pt x="62" y="42"/>
                  </a:lnTo>
                  <a:lnTo>
                    <a:pt x="65" y="42"/>
                  </a:lnTo>
                  <a:lnTo>
                    <a:pt x="72" y="40"/>
                  </a:lnTo>
                  <a:lnTo>
                    <a:pt x="74" y="42"/>
                  </a:lnTo>
                  <a:lnTo>
                    <a:pt x="74" y="42"/>
                  </a:lnTo>
                  <a:lnTo>
                    <a:pt x="76" y="42"/>
                  </a:lnTo>
                  <a:lnTo>
                    <a:pt x="76" y="45"/>
                  </a:lnTo>
                  <a:lnTo>
                    <a:pt x="81" y="47"/>
                  </a:lnTo>
                  <a:lnTo>
                    <a:pt x="83" y="47"/>
                  </a:lnTo>
                  <a:lnTo>
                    <a:pt x="95" y="47"/>
                  </a:lnTo>
                  <a:lnTo>
                    <a:pt x="97" y="45"/>
                  </a:lnTo>
                  <a:lnTo>
                    <a:pt x="88" y="42"/>
                  </a:lnTo>
                  <a:lnTo>
                    <a:pt x="88" y="42"/>
                  </a:lnTo>
                  <a:lnTo>
                    <a:pt x="90" y="42"/>
                  </a:lnTo>
                  <a:lnTo>
                    <a:pt x="93" y="40"/>
                  </a:lnTo>
                  <a:lnTo>
                    <a:pt x="95" y="40"/>
                  </a:lnTo>
                  <a:lnTo>
                    <a:pt x="97" y="42"/>
                  </a:lnTo>
                  <a:lnTo>
                    <a:pt x="97" y="40"/>
                  </a:lnTo>
                  <a:lnTo>
                    <a:pt x="95" y="38"/>
                  </a:lnTo>
                  <a:lnTo>
                    <a:pt x="95" y="38"/>
                  </a:lnTo>
                  <a:lnTo>
                    <a:pt x="95" y="38"/>
                  </a:lnTo>
                  <a:lnTo>
                    <a:pt x="95" y="35"/>
                  </a:lnTo>
                  <a:lnTo>
                    <a:pt x="97" y="31"/>
                  </a:lnTo>
                  <a:lnTo>
                    <a:pt x="100" y="31"/>
                  </a:lnTo>
                  <a:lnTo>
                    <a:pt x="100" y="24"/>
                  </a:lnTo>
                  <a:lnTo>
                    <a:pt x="100" y="24"/>
                  </a:lnTo>
                  <a:lnTo>
                    <a:pt x="102" y="24"/>
                  </a:lnTo>
                  <a:lnTo>
                    <a:pt x="102" y="24"/>
                  </a:lnTo>
                  <a:lnTo>
                    <a:pt x="107" y="26"/>
                  </a:lnTo>
                  <a:lnTo>
                    <a:pt x="107" y="26"/>
                  </a:lnTo>
                  <a:lnTo>
                    <a:pt x="109" y="26"/>
                  </a:lnTo>
                  <a:lnTo>
                    <a:pt x="111" y="26"/>
                  </a:lnTo>
                  <a:lnTo>
                    <a:pt x="111" y="26"/>
                  </a:lnTo>
                  <a:lnTo>
                    <a:pt x="114" y="21"/>
                  </a:lnTo>
                  <a:lnTo>
                    <a:pt x="116" y="21"/>
                  </a:lnTo>
                  <a:lnTo>
                    <a:pt x="118" y="19"/>
                  </a:lnTo>
                  <a:lnTo>
                    <a:pt x="121" y="19"/>
                  </a:lnTo>
                  <a:lnTo>
                    <a:pt x="121" y="19"/>
                  </a:lnTo>
                  <a:lnTo>
                    <a:pt x="123" y="17"/>
                  </a:lnTo>
                  <a:lnTo>
                    <a:pt x="125" y="14"/>
                  </a:lnTo>
                  <a:lnTo>
                    <a:pt x="130" y="10"/>
                  </a:lnTo>
                  <a:lnTo>
                    <a:pt x="132" y="7"/>
                  </a:lnTo>
                  <a:lnTo>
                    <a:pt x="135" y="7"/>
                  </a:lnTo>
                  <a:lnTo>
                    <a:pt x="142" y="5"/>
                  </a:lnTo>
                  <a:lnTo>
                    <a:pt x="144" y="5"/>
                  </a:lnTo>
                  <a:lnTo>
                    <a:pt x="148" y="3"/>
                  </a:lnTo>
                  <a:lnTo>
                    <a:pt x="151" y="0"/>
                  </a:lnTo>
                  <a:lnTo>
                    <a:pt x="151" y="0"/>
                  </a:lnTo>
                  <a:lnTo>
                    <a:pt x="153" y="10"/>
                  </a:lnTo>
                  <a:lnTo>
                    <a:pt x="153" y="14"/>
                  </a:lnTo>
                  <a:lnTo>
                    <a:pt x="158" y="17"/>
                  </a:lnTo>
                  <a:lnTo>
                    <a:pt x="160" y="21"/>
                  </a:lnTo>
                  <a:lnTo>
                    <a:pt x="162" y="26"/>
                  </a:lnTo>
                  <a:close/>
                </a:path>
              </a:pathLst>
            </a:custGeom>
            <a:solidFill>
              <a:srgbClr val="104F75"/>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4" name="Freeform 13">
              <a:extLst>
                <a:ext uri="{FF2B5EF4-FFF2-40B4-BE49-F238E27FC236}">
                  <a16:creationId xmlns:a16="http://schemas.microsoft.com/office/drawing/2014/main" id="{A30DE2E2-EC16-C0C4-02BD-C06D3AE0A71D}"/>
                </a:ext>
              </a:extLst>
            </p:cNvPr>
            <p:cNvSpPr>
              <a:spLocks noEditPoints="1"/>
            </p:cNvSpPr>
            <p:nvPr/>
          </p:nvSpPr>
          <p:spPr bwMode="auto">
            <a:xfrm>
              <a:off x="8758111" y="4487508"/>
              <a:ext cx="784225" cy="560388"/>
            </a:xfrm>
            <a:custGeom>
              <a:avLst/>
              <a:gdLst>
                <a:gd name="T0" fmla="*/ 114 w 494"/>
                <a:gd name="T1" fmla="*/ 330 h 353"/>
                <a:gd name="T2" fmla="*/ 100 w 494"/>
                <a:gd name="T3" fmla="*/ 344 h 353"/>
                <a:gd name="T4" fmla="*/ 54 w 494"/>
                <a:gd name="T5" fmla="*/ 330 h 353"/>
                <a:gd name="T6" fmla="*/ 65 w 494"/>
                <a:gd name="T7" fmla="*/ 321 h 353"/>
                <a:gd name="T8" fmla="*/ 126 w 494"/>
                <a:gd name="T9" fmla="*/ 312 h 353"/>
                <a:gd name="T10" fmla="*/ 135 w 494"/>
                <a:gd name="T11" fmla="*/ 314 h 353"/>
                <a:gd name="T12" fmla="*/ 394 w 494"/>
                <a:gd name="T13" fmla="*/ 207 h 353"/>
                <a:gd name="T14" fmla="*/ 228 w 494"/>
                <a:gd name="T15" fmla="*/ 12 h 353"/>
                <a:gd name="T16" fmla="*/ 219 w 494"/>
                <a:gd name="T17" fmla="*/ 40 h 353"/>
                <a:gd name="T18" fmla="*/ 210 w 494"/>
                <a:gd name="T19" fmla="*/ 70 h 353"/>
                <a:gd name="T20" fmla="*/ 226 w 494"/>
                <a:gd name="T21" fmla="*/ 91 h 353"/>
                <a:gd name="T22" fmla="*/ 200 w 494"/>
                <a:gd name="T23" fmla="*/ 86 h 353"/>
                <a:gd name="T24" fmla="*/ 219 w 494"/>
                <a:gd name="T25" fmla="*/ 107 h 353"/>
                <a:gd name="T26" fmla="*/ 224 w 494"/>
                <a:gd name="T27" fmla="*/ 126 h 353"/>
                <a:gd name="T28" fmla="*/ 224 w 494"/>
                <a:gd name="T29" fmla="*/ 167 h 353"/>
                <a:gd name="T30" fmla="*/ 238 w 494"/>
                <a:gd name="T31" fmla="*/ 186 h 353"/>
                <a:gd name="T32" fmla="*/ 247 w 494"/>
                <a:gd name="T33" fmla="*/ 207 h 353"/>
                <a:gd name="T34" fmla="*/ 266 w 494"/>
                <a:gd name="T35" fmla="*/ 216 h 353"/>
                <a:gd name="T36" fmla="*/ 289 w 494"/>
                <a:gd name="T37" fmla="*/ 216 h 353"/>
                <a:gd name="T38" fmla="*/ 308 w 494"/>
                <a:gd name="T39" fmla="*/ 214 h 353"/>
                <a:gd name="T40" fmla="*/ 331 w 494"/>
                <a:gd name="T41" fmla="*/ 188 h 353"/>
                <a:gd name="T42" fmla="*/ 356 w 494"/>
                <a:gd name="T43" fmla="*/ 191 h 353"/>
                <a:gd name="T44" fmla="*/ 394 w 494"/>
                <a:gd name="T45" fmla="*/ 200 h 353"/>
                <a:gd name="T46" fmla="*/ 368 w 494"/>
                <a:gd name="T47" fmla="*/ 207 h 353"/>
                <a:gd name="T48" fmla="*/ 389 w 494"/>
                <a:gd name="T49" fmla="*/ 205 h 353"/>
                <a:gd name="T50" fmla="*/ 491 w 494"/>
                <a:gd name="T51" fmla="*/ 223 h 353"/>
                <a:gd name="T52" fmla="*/ 484 w 494"/>
                <a:gd name="T53" fmla="*/ 263 h 353"/>
                <a:gd name="T54" fmla="*/ 449 w 494"/>
                <a:gd name="T55" fmla="*/ 288 h 353"/>
                <a:gd name="T56" fmla="*/ 415 w 494"/>
                <a:gd name="T57" fmla="*/ 309 h 353"/>
                <a:gd name="T58" fmla="*/ 361 w 494"/>
                <a:gd name="T59" fmla="*/ 330 h 353"/>
                <a:gd name="T60" fmla="*/ 303 w 494"/>
                <a:gd name="T61" fmla="*/ 349 h 353"/>
                <a:gd name="T62" fmla="*/ 273 w 494"/>
                <a:gd name="T63" fmla="*/ 335 h 353"/>
                <a:gd name="T64" fmla="*/ 166 w 494"/>
                <a:gd name="T65" fmla="*/ 323 h 353"/>
                <a:gd name="T66" fmla="*/ 142 w 494"/>
                <a:gd name="T67" fmla="*/ 321 h 353"/>
                <a:gd name="T68" fmla="*/ 142 w 494"/>
                <a:gd name="T69" fmla="*/ 307 h 353"/>
                <a:gd name="T70" fmla="*/ 131 w 494"/>
                <a:gd name="T71" fmla="*/ 300 h 353"/>
                <a:gd name="T72" fmla="*/ 119 w 494"/>
                <a:gd name="T73" fmla="*/ 302 h 353"/>
                <a:gd name="T74" fmla="*/ 110 w 494"/>
                <a:gd name="T75" fmla="*/ 312 h 353"/>
                <a:gd name="T76" fmla="*/ 93 w 494"/>
                <a:gd name="T77" fmla="*/ 300 h 353"/>
                <a:gd name="T78" fmla="*/ 68 w 494"/>
                <a:gd name="T79" fmla="*/ 277 h 353"/>
                <a:gd name="T80" fmla="*/ 70 w 494"/>
                <a:gd name="T81" fmla="*/ 305 h 353"/>
                <a:gd name="T82" fmla="*/ 47 w 494"/>
                <a:gd name="T83" fmla="*/ 316 h 353"/>
                <a:gd name="T84" fmla="*/ 17 w 494"/>
                <a:gd name="T85" fmla="*/ 302 h 353"/>
                <a:gd name="T86" fmla="*/ 17 w 494"/>
                <a:gd name="T87" fmla="*/ 270 h 353"/>
                <a:gd name="T88" fmla="*/ 12 w 494"/>
                <a:gd name="T89" fmla="*/ 246 h 353"/>
                <a:gd name="T90" fmla="*/ 35 w 494"/>
                <a:gd name="T91" fmla="*/ 258 h 353"/>
                <a:gd name="T92" fmla="*/ 49 w 494"/>
                <a:gd name="T93" fmla="*/ 246 h 353"/>
                <a:gd name="T94" fmla="*/ 45 w 494"/>
                <a:gd name="T95" fmla="*/ 198 h 353"/>
                <a:gd name="T96" fmla="*/ 70 w 494"/>
                <a:gd name="T97" fmla="*/ 193 h 353"/>
                <a:gd name="T98" fmla="*/ 70 w 494"/>
                <a:gd name="T99" fmla="*/ 163 h 353"/>
                <a:gd name="T100" fmla="*/ 70 w 494"/>
                <a:gd name="T101" fmla="*/ 137 h 353"/>
                <a:gd name="T102" fmla="*/ 63 w 494"/>
                <a:gd name="T103" fmla="*/ 107 h 353"/>
                <a:gd name="T104" fmla="*/ 65 w 494"/>
                <a:gd name="T105" fmla="*/ 82 h 353"/>
                <a:gd name="T106" fmla="*/ 82 w 494"/>
                <a:gd name="T107" fmla="*/ 42 h 353"/>
                <a:gd name="T108" fmla="*/ 98 w 494"/>
                <a:gd name="T109" fmla="*/ 35 h 353"/>
                <a:gd name="T110" fmla="*/ 114 w 494"/>
                <a:gd name="T111" fmla="*/ 9 h 353"/>
                <a:gd name="T112" fmla="*/ 131 w 494"/>
                <a:gd name="T113" fmla="*/ 0 h 353"/>
                <a:gd name="T114" fmla="*/ 133 w 494"/>
                <a:gd name="T115" fmla="*/ 42 h 353"/>
                <a:gd name="T116" fmla="*/ 154 w 494"/>
                <a:gd name="T117" fmla="*/ 33 h 353"/>
                <a:gd name="T118" fmla="*/ 189 w 494"/>
                <a:gd name="T119" fmla="*/ 37 h 353"/>
                <a:gd name="T120" fmla="*/ 191 w 494"/>
                <a:gd name="T121" fmla="*/ 19 h 353"/>
                <a:gd name="T122" fmla="*/ 224 w 494"/>
                <a:gd name="T123" fmla="*/ 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4" h="353">
                  <a:moveTo>
                    <a:pt x="86" y="312"/>
                  </a:moveTo>
                  <a:lnTo>
                    <a:pt x="105" y="323"/>
                  </a:lnTo>
                  <a:lnTo>
                    <a:pt x="110" y="323"/>
                  </a:lnTo>
                  <a:lnTo>
                    <a:pt x="112" y="323"/>
                  </a:lnTo>
                  <a:lnTo>
                    <a:pt x="112" y="326"/>
                  </a:lnTo>
                  <a:lnTo>
                    <a:pt x="112" y="328"/>
                  </a:lnTo>
                  <a:lnTo>
                    <a:pt x="112" y="330"/>
                  </a:lnTo>
                  <a:lnTo>
                    <a:pt x="114" y="330"/>
                  </a:lnTo>
                  <a:lnTo>
                    <a:pt x="117" y="335"/>
                  </a:lnTo>
                  <a:lnTo>
                    <a:pt x="117" y="337"/>
                  </a:lnTo>
                  <a:lnTo>
                    <a:pt x="114" y="335"/>
                  </a:lnTo>
                  <a:lnTo>
                    <a:pt x="114" y="337"/>
                  </a:lnTo>
                  <a:lnTo>
                    <a:pt x="107" y="337"/>
                  </a:lnTo>
                  <a:lnTo>
                    <a:pt x="105" y="339"/>
                  </a:lnTo>
                  <a:lnTo>
                    <a:pt x="100" y="342"/>
                  </a:lnTo>
                  <a:lnTo>
                    <a:pt x="100" y="344"/>
                  </a:lnTo>
                  <a:lnTo>
                    <a:pt x="100" y="349"/>
                  </a:lnTo>
                  <a:lnTo>
                    <a:pt x="98" y="351"/>
                  </a:lnTo>
                  <a:lnTo>
                    <a:pt x="82" y="353"/>
                  </a:lnTo>
                  <a:lnTo>
                    <a:pt x="77" y="351"/>
                  </a:lnTo>
                  <a:lnTo>
                    <a:pt x="61" y="335"/>
                  </a:lnTo>
                  <a:lnTo>
                    <a:pt x="58" y="335"/>
                  </a:lnTo>
                  <a:lnTo>
                    <a:pt x="56" y="330"/>
                  </a:lnTo>
                  <a:lnTo>
                    <a:pt x="54" y="330"/>
                  </a:lnTo>
                  <a:lnTo>
                    <a:pt x="49" y="330"/>
                  </a:lnTo>
                  <a:lnTo>
                    <a:pt x="45" y="330"/>
                  </a:lnTo>
                  <a:lnTo>
                    <a:pt x="42" y="330"/>
                  </a:lnTo>
                  <a:lnTo>
                    <a:pt x="47" y="326"/>
                  </a:lnTo>
                  <a:lnTo>
                    <a:pt x="54" y="321"/>
                  </a:lnTo>
                  <a:lnTo>
                    <a:pt x="68" y="316"/>
                  </a:lnTo>
                  <a:lnTo>
                    <a:pt x="65" y="319"/>
                  </a:lnTo>
                  <a:lnTo>
                    <a:pt x="65" y="321"/>
                  </a:lnTo>
                  <a:lnTo>
                    <a:pt x="70" y="321"/>
                  </a:lnTo>
                  <a:lnTo>
                    <a:pt x="72" y="319"/>
                  </a:lnTo>
                  <a:lnTo>
                    <a:pt x="79" y="314"/>
                  </a:lnTo>
                  <a:lnTo>
                    <a:pt x="82" y="312"/>
                  </a:lnTo>
                  <a:lnTo>
                    <a:pt x="86" y="312"/>
                  </a:lnTo>
                  <a:close/>
                  <a:moveTo>
                    <a:pt x="138" y="316"/>
                  </a:moveTo>
                  <a:lnTo>
                    <a:pt x="126" y="314"/>
                  </a:lnTo>
                  <a:lnTo>
                    <a:pt x="126" y="312"/>
                  </a:lnTo>
                  <a:lnTo>
                    <a:pt x="128" y="312"/>
                  </a:lnTo>
                  <a:lnTo>
                    <a:pt x="133" y="305"/>
                  </a:lnTo>
                  <a:lnTo>
                    <a:pt x="135" y="307"/>
                  </a:lnTo>
                  <a:lnTo>
                    <a:pt x="138" y="307"/>
                  </a:lnTo>
                  <a:lnTo>
                    <a:pt x="138" y="309"/>
                  </a:lnTo>
                  <a:lnTo>
                    <a:pt x="135" y="309"/>
                  </a:lnTo>
                  <a:lnTo>
                    <a:pt x="135" y="312"/>
                  </a:lnTo>
                  <a:lnTo>
                    <a:pt x="135" y="314"/>
                  </a:lnTo>
                  <a:lnTo>
                    <a:pt x="138" y="316"/>
                  </a:lnTo>
                  <a:close/>
                  <a:moveTo>
                    <a:pt x="422" y="221"/>
                  </a:moveTo>
                  <a:lnTo>
                    <a:pt x="417" y="221"/>
                  </a:lnTo>
                  <a:lnTo>
                    <a:pt x="401" y="219"/>
                  </a:lnTo>
                  <a:lnTo>
                    <a:pt x="398" y="216"/>
                  </a:lnTo>
                  <a:lnTo>
                    <a:pt x="396" y="214"/>
                  </a:lnTo>
                  <a:lnTo>
                    <a:pt x="394" y="212"/>
                  </a:lnTo>
                  <a:lnTo>
                    <a:pt x="394" y="207"/>
                  </a:lnTo>
                  <a:lnTo>
                    <a:pt x="396" y="202"/>
                  </a:lnTo>
                  <a:lnTo>
                    <a:pt x="398" y="200"/>
                  </a:lnTo>
                  <a:lnTo>
                    <a:pt x="417" y="209"/>
                  </a:lnTo>
                  <a:lnTo>
                    <a:pt x="419" y="212"/>
                  </a:lnTo>
                  <a:lnTo>
                    <a:pt x="422" y="214"/>
                  </a:lnTo>
                  <a:lnTo>
                    <a:pt x="422" y="219"/>
                  </a:lnTo>
                  <a:lnTo>
                    <a:pt x="422" y="221"/>
                  </a:lnTo>
                  <a:close/>
                  <a:moveTo>
                    <a:pt x="228" y="12"/>
                  </a:moveTo>
                  <a:lnTo>
                    <a:pt x="226" y="16"/>
                  </a:lnTo>
                  <a:lnTo>
                    <a:pt x="231" y="23"/>
                  </a:lnTo>
                  <a:lnTo>
                    <a:pt x="231" y="30"/>
                  </a:lnTo>
                  <a:lnTo>
                    <a:pt x="224" y="33"/>
                  </a:lnTo>
                  <a:lnTo>
                    <a:pt x="224" y="35"/>
                  </a:lnTo>
                  <a:lnTo>
                    <a:pt x="224" y="37"/>
                  </a:lnTo>
                  <a:lnTo>
                    <a:pt x="221" y="37"/>
                  </a:lnTo>
                  <a:lnTo>
                    <a:pt x="219" y="40"/>
                  </a:lnTo>
                  <a:lnTo>
                    <a:pt x="221" y="42"/>
                  </a:lnTo>
                  <a:lnTo>
                    <a:pt x="221" y="44"/>
                  </a:lnTo>
                  <a:lnTo>
                    <a:pt x="219" y="49"/>
                  </a:lnTo>
                  <a:lnTo>
                    <a:pt x="217" y="51"/>
                  </a:lnTo>
                  <a:lnTo>
                    <a:pt x="217" y="58"/>
                  </a:lnTo>
                  <a:lnTo>
                    <a:pt x="214" y="61"/>
                  </a:lnTo>
                  <a:lnTo>
                    <a:pt x="212" y="63"/>
                  </a:lnTo>
                  <a:lnTo>
                    <a:pt x="210" y="70"/>
                  </a:lnTo>
                  <a:lnTo>
                    <a:pt x="212" y="72"/>
                  </a:lnTo>
                  <a:lnTo>
                    <a:pt x="217" y="77"/>
                  </a:lnTo>
                  <a:lnTo>
                    <a:pt x="221" y="77"/>
                  </a:lnTo>
                  <a:lnTo>
                    <a:pt x="226" y="84"/>
                  </a:lnTo>
                  <a:lnTo>
                    <a:pt x="226" y="88"/>
                  </a:lnTo>
                  <a:lnTo>
                    <a:pt x="228" y="91"/>
                  </a:lnTo>
                  <a:lnTo>
                    <a:pt x="228" y="93"/>
                  </a:lnTo>
                  <a:lnTo>
                    <a:pt x="226" y="91"/>
                  </a:lnTo>
                  <a:lnTo>
                    <a:pt x="221" y="95"/>
                  </a:lnTo>
                  <a:lnTo>
                    <a:pt x="217" y="93"/>
                  </a:lnTo>
                  <a:lnTo>
                    <a:pt x="212" y="91"/>
                  </a:lnTo>
                  <a:lnTo>
                    <a:pt x="210" y="88"/>
                  </a:lnTo>
                  <a:lnTo>
                    <a:pt x="210" y="86"/>
                  </a:lnTo>
                  <a:lnTo>
                    <a:pt x="210" y="84"/>
                  </a:lnTo>
                  <a:lnTo>
                    <a:pt x="205" y="82"/>
                  </a:lnTo>
                  <a:lnTo>
                    <a:pt x="200" y="86"/>
                  </a:lnTo>
                  <a:lnTo>
                    <a:pt x="203" y="91"/>
                  </a:lnTo>
                  <a:lnTo>
                    <a:pt x="205" y="91"/>
                  </a:lnTo>
                  <a:lnTo>
                    <a:pt x="207" y="95"/>
                  </a:lnTo>
                  <a:lnTo>
                    <a:pt x="207" y="98"/>
                  </a:lnTo>
                  <a:lnTo>
                    <a:pt x="207" y="100"/>
                  </a:lnTo>
                  <a:lnTo>
                    <a:pt x="207" y="102"/>
                  </a:lnTo>
                  <a:lnTo>
                    <a:pt x="212" y="107"/>
                  </a:lnTo>
                  <a:lnTo>
                    <a:pt x="219" y="107"/>
                  </a:lnTo>
                  <a:lnTo>
                    <a:pt x="221" y="112"/>
                  </a:lnTo>
                  <a:lnTo>
                    <a:pt x="224" y="109"/>
                  </a:lnTo>
                  <a:lnTo>
                    <a:pt x="226" y="112"/>
                  </a:lnTo>
                  <a:lnTo>
                    <a:pt x="226" y="114"/>
                  </a:lnTo>
                  <a:lnTo>
                    <a:pt x="224" y="116"/>
                  </a:lnTo>
                  <a:lnTo>
                    <a:pt x="221" y="116"/>
                  </a:lnTo>
                  <a:lnTo>
                    <a:pt x="224" y="121"/>
                  </a:lnTo>
                  <a:lnTo>
                    <a:pt x="224" y="126"/>
                  </a:lnTo>
                  <a:lnTo>
                    <a:pt x="228" y="126"/>
                  </a:lnTo>
                  <a:lnTo>
                    <a:pt x="228" y="128"/>
                  </a:lnTo>
                  <a:lnTo>
                    <a:pt x="224" y="133"/>
                  </a:lnTo>
                  <a:lnTo>
                    <a:pt x="224" y="137"/>
                  </a:lnTo>
                  <a:lnTo>
                    <a:pt x="224" y="140"/>
                  </a:lnTo>
                  <a:lnTo>
                    <a:pt x="226" y="144"/>
                  </a:lnTo>
                  <a:lnTo>
                    <a:pt x="228" y="154"/>
                  </a:lnTo>
                  <a:lnTo>
                    <a:pt x="224" y="167"/>
                  </a:lnTo>
                  <a:lnTo>
                    <a:pt x="221" y="170"/>
                  </a:lnTo>
                  <a:lnTo>
                    <a:pt x="226" y="174"/>
                  </a:lnTo>
                  <a:lnTo>
                    <a:pt x="228" y="177"/>
                  </a:lnTo>
                  <a:lnTo>
                    <a:pt x="228" y="179"/>
                  </a:lnTo>
                  <a:lnTo>
                    <a:pt x="231" y="181"/>
                  </a:lnTo>
                  <a:lnTo>
                    <a:pt x="235" y="184"/>
                  </a:lnTo>
                  <a:lnTo>
                    <a:pt x="235" y="186"/>
                  </a:lnTo>
                  <a:lnTo>
                    <a:pt x="238" y="186"/>
                  </a:lnTo>
                  <a:lnTo>
                    <a:pt x="240" y="191"/>
                  </a:lnTo>
                  <a:lnTo>
                    <a:pt x="242" y="191"/>
                  </a:lnTo>
                  <a:lnTo>
                    <a:pt x="245" y="193"/>
                  </a:lnTo>
                  <a:lnTo>
                    <a:pt x="247" y="195"/>
                  </a:lnTo>
                  <a:lnTo>
                    <a:pt x="247" y="198"/>
                  </a:lnTo>
                  <a:lnTo>
                    <a:pt x="245" y="202"/>
                  </a:lnTo>
                  <a:lnTo>
                    <a:pt x="242" y="207"/>
                  </a:lnTo>
                  <a:lnTo>
                    <a:pt x="247" y="207"/>
                  </a:lnTo>
                  <a:lnTo>
                    <a:pt x="252" y="200"/>
                  </a:lnTo>
                  <a:lnTo>
                    <a:pt x="254" y="198"/>
                  </a:lnTo>
                  <a:lnTo>
                    <a:pt x="259" y="202"/>
                  </a:lnTo>
                  <a:lnTo>
                    <a:pt x="256" y="209"/>
                  </a:lnTo>
                  <a:lnTo>
                    <a:pt x="261" y="207"/>
                  </a:lnTo>
                  <a:lnTo>
                    <a:pt x="263" y="207"/>
                  </a:lnTo>
                  <a:lnTo>
                    <a:pt x="263" y="212"/>
                  </a:lnTo>
                  <a:lnTo>
                    <a:pt x="266" y="216"/>
                  </a:lnTo>
                  <a:lnTo>
                    <a:pt x="268" y="219"/>
                  </a:lnTo>
                  <a:lnTo>
                    <a:pt x="273" y="219"/>
                  </a:lnTo>
                  <a:lnTo>
                    <a:pt x="275" y="216"/>
                  </a:lnTo>
                  <a:lnTo>
                    <a:pt x="277" y="214"/>
                  </a:lnTo>
                  <a:lnTo>
                    <a:pt x="280" y="216"/>
                  </a:lnTo>
                  <a:lnTo>
                    <a:pt x="284" y="212"/>
                  </a:lnTo>
                  <a:lnTo>
                    <a:pt x="287" y="214"/>
                  </a:lnTo>
                  <a:lnTo>
                    <a:pt x="289" y="216"/>
                  </a:lnTo>
                  <a:lnTo>
                    <a:pt x="289" y="223"/>
                  </a:lnTo>
                  <a:lnTo>
                    <a:pt x="294" y="221"/>
                  </a:lnTo>
                  <a:lnTo>
                    <a:pt x="294" y="223"/>
                  </a:lnTo>
                  <a:lnTo>
                    <a:pt x="296" y="226"/>
                  </a:lnTo>
                  <a:lnTo>
                    <a:pt x="301" y="223"/>
                  </a:lnTo>
                  <a:lnTo>
                    <a:pt x="301" y="219"/>
                  </a:lnTo>
                  <a:lnTo>
                    <a:pt x="305" y="216"/>
                  </a:lnTo>
                  <a:lnTo>
                    <a:pt x="308" y="214"/>
                  </a:lnTo>
                  <a:lnTo>
                    <a:pt x="310" y="209"/>
                  </a:lnTo>
                  <a:lnTo>
                    <a:pt x="312" y="202"/>
                  </a:lnTo>
                  <a:lnTo>
                    <a:pt x="312" y="200"/>
                  </a:lnTo>
                  <a:lnTo>
                    <a:pt x="312" y="195"/>
                  </a:lnTo>
                  <a:lnTo>
                    <a:pt x="317" y="193"/>
                  </a:lnTo>
                  <a:lnTo>
                    <a:pt x="321" y="188"/>
                  </a:lnTo>
                  <a:lnTo>
                    <a:pt x="324" y="186"/>
                  </a:lnTo>
                  <a:lnTo>
                    <a:pt x="331" y="188"/>
                  </a:lnTo>
                  <a:lnTo>
                    <a:pt x="335" y="188"/>
                  </a:lnTo>
                  <a:lnTo>
                    <a:pt x="338" y="188"/>
                  </a:lnTo>
                  <a:lnTo>
                    <a:pt x="338" y="191"/>
                  </a:lnTo>
                  <a:lnTo>
                    <a:pt x="338" y="193"/>
                  </a:lnTo>
                  <a:lnTo>
                    <a:pt x="342" y="193"/>
                  </a:lnTo>
                  <a:lnTo>
                    <a:pt x="345" y="193"/>
                  </a:lnTo>
                  <a:lnTo>
                    <a:pt x="354" y="193"/>
                  </a:lnTo>
                  <a:lnTo>
                    <a:pt x="356" y="191"/>
                  </a:lnTo>
                  <a:lnTo>
                    <a:pt x="356" y="188"/>
                  </a:lnTo>
                  <a:lnTo>
                    <a:pt x="359" y="188"/>
                  </a:lnTo>
                  <a:lnTo>
                    <a:pt x="363" y="186"/>
                  </a:lnTo>
                  <a:lnTo>
                    <a:pt x="368" y="186"/>
                  </a:lnTo>
                  <a:lnTo>
                    <a:pt x="389" y="193"/>
                  </a:lnTo>
                  <a:lnTo>
                    <a:pt x="391" y="195"/>
                  </a:lnTo>
                  <a:lnTo>
                    <a:pt x="394" y="198"/>
                  </a:lnTo>
                  <a:lnTo>
                    <a:pt x="394" y="200"/>
                  </a:lnTo>
                  <a:lnTo>
                    <a:pt x="391" y="200"/>
                  </a:lnTo>
                  <a:lnTo>
                    <a:pt x="389" y="200"/>
                  </a:lnTo>
                  <a:lnTo>
                    <a:pt x="384" y="200"/>
                  </a:lnTo>
                  <a:lnTo>
                    <a:pt x="382" y="200"/>
                  </a:lnTo>
                  <a:lnTo>
                    <a:pt x="377" y="202"/>
                  </a:lnTo>
                  <a:lnTo>
                    <a:pt x="370" y="202"/>
                  </a:lnTo>
                  <a:lnTo>
                    <a:pt x="368" y="205"/>
                  </a:lnTo>
                  <a:lnTo>
                    <a:pt x="368" y="207"/>
                  </a:lnTo>
                  <a:lnTo>
                    <a:pt x="370" y="207"/>
                  </a:lnTo>
                  <a:lnTo>
                    <a:pt x="370" y="209"/>
                  </a:lnTo>
                  <a:lnTo>
                    <a:pt x="373" y="209"/>
                  </a:lnTo>
                  <a:lnTo>
                    <a:pt x="384" y="212"/>
                  </a:lnTo>
                  <a:lnTo>
                    <a:pt x="389" y="214"/>
                  </a:lnTo>
                  <a:lnTo>
                    <a:pt x="389" y="212"/>
                  </a:lnTo>
                  <a:lnTo>
                    <a:pt x="389" y="207"/>
                  </a:lnTo>
                  <a:lnTo>
                    <a:pt x="389" y="205"/>
                  </a:lnTo>
                  <a:lnTo>
                    <a:pt x="394" y="207"/>
                  </a:lnTo>
                  <a:lnTo>
                    <a:pt x="394" y="209"/>
                  </a:lnTo>
                  <a:lnTo>
                    <a:pt x="394" y="214"/>
                  </a:lnTo>
                  <a:lnTo>
                    <a:pt x="396" y="216"/>
                  </a:lnTo>
                  <a:lnTo>
                    <a:pt x="396" y="219"/>
                  </a:lnTo>
                  <a:lnTo>
                    <a:pt x="426" y="226"/>
                  </a:lnTo>
                  <a:lnTo>
                    <a:pt x="445" y="223"/>
                  </a:lnTo>
                  <a:lnTo>
                    <a:pt x="491" y="223"/>
                  </a:lnTo>
                  <a:lnTo>
                    <a:pt x="494" y="226"/>
                  </a:lnTo>
                  <a:lnTo>
                    <a:pt x="491" y="235"/>
                  </a:lnTo>
                  <a:lnTo>
                    <a:pt x="489" y="237"/>
                  </a:lnTo>
                  <a:lnTo>
                    <a:pt x="482" y="237"/>
                  </a:lnTo>
                  <a:lnTo>
                    <a:pt x="482" y="244"/>
                  </a:lnTo>
                  <a:lnTo>
                    <a:pt x="482" y="246"/>
                  </a:lnTo>
                  <a:lnTo>
                    <a:pt x="484" y="253"/>
                  </a:lnTo>
                  <a:lnTo>
                    <a:pt x="484" y="263"/>
                  </a:lnTo>
                  <a:lnTo>
                    <a:pt x="482" y="272"/>
                  </a:lnTo>
                  <a:lnTo>
                    <a:pt x="477" y="277"/>
                  </a:lnTo>
                  <a:lnTo>
                    <a:pt x="475" y="281"/>
                  </a:lnTo>
                  <a:lnTo>
                    <a:pt x="463" y="284"/>
                  </a:lnTo>
                  <a:lnTo>
                    <a:pt x="459" y="286"/>
                  </a:lnTo>
                  <a:lnTo>
                    <a:pt x="454" y="286"/>
                  </a:lnTo>
                  <a:lnTo>
                    <a:pt x="452" y="288"/>
                  </a:lnTo>
                  <a:lnTo>
                    <a:pt x="449" y="288"/>
                  </a:lnTo>
                  <a:lnTo>
                    <a:pt x="449" y="291"/>
                  </a:lnTo>
                  <a:lnTo>
                    <a:pt x="447" y="291"/>
                  </a:lnTo>
                  <a:lnTo>
                    <a:pt x="438" y="291"/>
                  </a:lnTo>
                  <a:lnTo>
                    <a:pt x="433" y="291"/>
                  </a:lnTo>
                  <a:lnTo>
                    <a:pt x="431" y="293"/>
                  </a:lnTo>
                  <a:lnTo>
                    <a:pt x="424" y="298"/>
                  </a:lnTo>
                  <a:lnTo>
                    <a:pt x="417" y="307"/>
                  </a:lnTo>
                  <a:lnTo>
                    <a:pt x="415" y="309"/>
                  </a:lnTo>
                  <a:lnTo>
                    <a:pt x="415" y="314"/>
                  </a:lnTo>
                  <a:lnTo>
                    <a:pt x="415" y="323"/>
                  </a:lnTo>
                  <a:lnTo>
                    <a:pt x="410" y="326"/>
                  </a:lnTo>
                  <a:lnTo>
                    <a:pt x="398" y="321"/>
                  </a:lnTo>
                  <a:lnTo>
                    <a:pt x="389" y="316"/>
                  </a:lnTo>
                  <a:lnTo>
                    <a:pt x="384" y="316"/>
                  </a:lnTo>
                  <a:lnTo>
                    <a:pt x="368" y="328"/>
                  </a:lnTo>
                  <a:lnTo>
                    <a:pt x="361" y="330"/>
                  </a:lnTo>
                  <a:lnTo>
                    <a:pt x="331" y="332"/>
                  </a:lnTo>
                  <a:lnTo>
                    <a:pt x="324" y="335"/>
                  </a:lnTo>
                  <a:lnTo>
                    <a:pt x="321" y="337"/>
                  </a:lnTo>
                  <a:lnTo>
                    <a:pt x="321" y="339"/>
                  </a:lnTo>
                  <a:lnTo>
                    <a:pt x="319" y="339"/>
                  </a:lnTo>
                  <a:lnTo>
                    <a:pt x="315" y="342"/>
                  </a:lnTo>
                  <a:lnTo>
                    <a:pt x="308" y="349"/>
                  </a:lnTo>
                  <a:lnTo>
                    <a:pt x="303" y="349"/>
                  </a:lnTo>
                  <a:lnTo>
                    <a:pt x="301" y="346"/>
                  </a:lnTo>
                  <a:lnTo>
                    <a:pt x="294" y="344"/>
                  </a:lnTo>
                  <a:lnTo>
                    <a:pt x="287" y="344"/>
                  </a:lnTo>
                  <a:lnTo>
                    <a:pt x="287" y="342"/>
                  </a:lnTo>
                  <a:lnTo>
                    <a:pt x="284" y="339"/>
                  </a:lnTo>
                  <a:lnTo>
                    <a:pt x="282" y="337"/>
                  </a:lnTo>
                  <a:lnTo>
                    <a:pt x="275" y="337"/>
                  </a:lnTo>
                  <a:lnTo>
                    <a:pt x="273" y="335"/>
                  </a:lnTo>
                  <a:lnTo>
                    <a:pt x="247" y="323"/>
                  </a:lnTo>
                  <a:lnTo>
                    <a:pt x="242" y="321"/>
                  </a:lnTo>
                  <a:lnTo>
                    <a:pt x="238" y="323"/>
                  </a:lnTo>
                  <a:lnTo>
                    <a:pt x="233" y="319"/>
                  </a:lnTo>
                  <a:lnTo>
                    <a:pt x="214" y="323"/>
                  </a:lnTo>
                  <a:lnTo>
                    <a:pt x="191" y="321"/>
                  </a:lnTo>
                  <a:lnTo>
                    <a:pt x="166" y="326"/>
                  </a:lnTo>
                  <a:lnTo>
                    <a:pt x="166" y="323"/>
                  </a:lnTo>
                  <a:lnTo>
                    <a:pt x="163" y="323"/>
                  </a:lnTo>
                  <a:lnTo>
                    <a:pt x="163" y="321"/>
                  </a:lnTo>
                  <a:lnTo>
                    <a:pt x="161" y="323"/>
                  </a:lnTo>
                  <a:lnTo>
                    <a:pt x="161" y="328"/>
                  </a:lnTo>
                  <a:lnTo>
                    <a:pt x="159" y="330"/>
                  </a:lnTo>
                  <a:lnTo>
                    <a:pt x="156" y="332"/>
                  </a:lnTo>
                  <a:lnTo>
                    <a:pt x="154" y="330"/>
                  </a:lnTo>
                  <a:lnTo>
                    <a:pt x="142" y="321"/>
                  </a:lnTo>
                  <a:lnTo>
                    <a:pt x="140" y="319"/>
                  </a:lnTo>
                  <a:lnTo>
                    <a:pt x="142" y="316"/>
                  </a:lnTo>
                  <a:lnTo>
                    <a:pt x="145" y="316"/>
                  </a:lnTo>
                  <a:lnTo>
                    <a:pt x="149" y="314"/>
                  </a:lnTo>
                  <a:lnTo>
                    <a:pt x="149" y="312"/>
                  </a:lnTo>
                  <a:lnTo>
                    <a:pt x="147" y="312"/>
                  </a:lnTo>
                  <a:lnTo>
                    <a:pt x="145" y="309"/>
                  </a:lnTo>
                  <a:lnTo>
                    <a:pt x="142" y="307"/>
                  </a:lnTo>
                  <a:lnTo>
                    <a:pt x="140" y="309"/>
                  </a:lnTo>
                  <a:lnTo>
                    <a:pt x="140" y="307"/>
                  </a:lnTo>
                  <a:lnTo>
                    <a:pt x="142" y="305"/>
                  </a:lnTo>
                  <a:lnTo>
                    <a:pt x="140" y="305"/>
                  </a:lnTo>
                  <a:lnTo>
                    <a:pt x="140" y="302"/>
                  </a:lnTo>
                  <a:lnTo>
                    <a:pt x="135" y="302"/>
                  </a:lnTo>
                  <a:lnTo>
                    <a:pt x="131" y="302"/>
                  </a:lnTo>
                  <a:lnTo>
                    <a:pt x="131" y="300"/>
                  </a:lnTo>
                  <a:lnTo>
                    <a:pt x="128" y="302"/>
                  </a:lnTo>
                  <a:lnTo>
                    <a:pt x="126" y="305"/>
                  </a:lnTo>
                  <a:lnTo>
                    <a:pt x="124" y="309"/>
                  </a:lnTo>
                  <a:lnTo>
                    <a:pt x="121" y="314"/>
                  </a:lnTo>
                  <a:lnTo>
                    <a:pt x="117" y="314"/>
                  </a:lnTo>
                  <a:lnTo>
                    <a:pt x="114" y="312"/>
                  </a:lnTo>
                  <a:lnTo>
                    <a:pt x="117" y="307"/>
                  </a:lnTo>
                  <a:lnTo>
                    <a:pt x="119" y="302"/>
                  </a:lnTo>
                  <a:lnTo>
                    <a:pt x="121" y="300"/>
                  </a:lnTo>
                  <a:lnTo>
                    <a:pt x="119" y="298"/>
                  </a:lnTo>
                  <a:lnTo>
                    <a:pt x="110" y="298"/>
                  </a:lnTo>
                  <a:lnTo>
                    <a:pt x="107" y="298"/>
                  </a:lnTo>
                  <a:lnTo>
                    <a:pt x="112" y="302"/>
                  </a:lnTo>
                  <a:lnTo>
                    <a:pt x="112" y="305"/>
                  </a:lnTo>
                  <a:lnTo>
                    <a:pt x="112" y="309"/>
                  </a:lnTo>
                  <a:lnTo>
                    <a:pt x="110" y="312"/>
                  </a:lnTo>
                  <a:lnTo>
                    <a:pt x="110" y="314"/>
                  </a:lnTo>
                  <a:lnTo>
                    <a:pt x="107" y="312"/>
                  </a:lnTo>
                  <a:lnTo>
                    <a:pt x="105" y="312"/>
                  </a:lnTo>
                  <a:lnTo>
                    <a:pt x="103" y="309"/>
                  </a:lnTo>
                  <a:lnTo>
                    <a:pt x="100" y="307"/>
                  </a:lnTo>
                  <a:lnTo>
                    <a:pt x="100" y="305"/>
                  </a:lnTo>
                  <a:lnTo>
                    <a:pt x="96" y="302"/>
                  </a:lnTo>
                  <a:lnTo>
                    <a:pt x="93" y="300"/>
                  </a:lnTo>
                  <a:lnTo>
                    <a:pt x="89" y="298"/>
                  </a:lnTo>
                  <a:lnTo>
                    <a:pt x="86" y="295"/>
                  </a:lnTo>
                  <a:lnTo>
                    <a:pt x="86" y="293"/>
                  </a:lnTo>
                  <a:lnTo>
                    <a:pt x="84" y="288"/>
                  </a:lnTo>
                  <a:lnTo>
                    <a:pt x="68" y="277"/>
                  </a:lnTo>
                  <a:lnTo>
                    <a:pt x="68" y="274"/>
                  </a:lnTo>
                  <a:lnTo>
                    <a:pt x="65" y="277"/>
                  </a:lnTo>
                  <a:lnTo>
                    <a:pt x="68" y="277"/>
                  </a:lnTo>
                  <a:lnTo>
                    <a:pt x="70" y="279"/>
                  </a:lnTo>
                  <a:lnTo>
                    <a:pt x="72" y="279"/>
                  </a:lnTo>
                  <a:lnTo>
                    <a:pt x="75" y="284"/>
                  </a:lnTo>
                  <a:lnTo>
                    <a:pt x="84" y="300"/>
                  </a:lnTo>
                  <a:lnTo>
                    <a:pt x="84" y="302"/>
                  </a:lnTo>
                  <a:lnTo>
                    <a:pt x="84" y="305"/>
                  </a:lnTo>
                  <a:lnTo>
                    <a:pt x="79" y="305"/>
                  </a:lnTo>
                  <a:lnTo>
                    <a:pt x="70" y="305"/>
                  </a:lnTo>
                  <a:lnTo>
                    <a:pt x="68" y="305"/>
                  </a:lnTo>
                  <a:lnTo>
                    <a:pt x="70" y="307"/>
                  </a:lnTo>
                  <a:lnTo>
                    <a:pt x="70" y="309"/>
                  </a:lnTo>
                  <a:lnTo>
                    <a:pt x="63" y="309"/>
                  </a:lnTo>
                  <a:lnTo>
                    <a:pt x="61" y="309"/>
                  </a:lnTo>
                  <a:lnTo>
                    <a:pt x="58" y="312"/>
                  </a:lnTo>
                  <a:lnTo>
                    <a:pt x="54" y="309"/>
                  </a:lnTo>
                  <a:lnTo>
                    <a:pt x="47" y="316"/>
                  </a:lnTo>
                  <a:lnTo>
                    <a:pt x="47" y="319"/>
                  </a:lnTo>
                  <a:lnTo>
                    <a:pt x="45" y="316"/>
                  </a:lnTo>
                  <a:lnTo>
                    <a:pt x="40" y="314"/>
                  </a:lnTo>
                  <a:lnTo>
                    <a:pt x="31" y="309"/>
                  </a:lnTo>
                  <a:lnTo>
                    <a:pt x="31" y="307"/>
                  </a:lnTo>
                  <a:lnTo>
                    <a:pt x="24" y="305"/>
                  </a:lnTo>
                  <a:lnTo>
                    <a:pt x="24" y="300"/>
                  </a:lnTo>
                  <a:lnTo>
                    <a:pt x="17" y="302"/>
                  </a:lnTo>
                  <a:lnTo>
                    <a:pt x="14" y="298"/>
                  </a:lnTo>
                  <a:lnTo>
                    <a:pt x="14" y="293"/>
                  </a:lnTo>
                  <a:lnTo>
                    <a:pt x="14" y="291"/>
                  </a:lnTo>
                  <a:lnTo>
                    <a:pt x="17" y="286"/>
                  </a:lnTo>
                  <a:lnTo>
                    <a:pt x="17" y="279"/>
                  </a:lnTo>
                  <a:lnTo>
                    <a:pt x="12" y="279"/>
                  </a:lnTo>
                  <a:lnTo>
                    <a:pt x="12" y="272"/>
                  </a:lnTo>
                  <a:lnTo>
                    <a:pt x="17" y="270"/>
                  </a:lnTo>
                  <a:lnTo>
                    <a:pt x="19" y="265"/>
                  </a:lnTo>
                  <a:lnTo>
                    <a:pt x="14" y="263"/>
                  </a:lnTo>
                  <a:lnTo>
                    <a:pt x="10" y="265"/>
                  </a:lnTo>
                  <a:lnTo>
                    <a:pt x="7" y="265"/>
                  </a:lnTo>
                  <a:lnTo>
                    <a:pt x="5" y="260"/>
                  </a:lnTo>
                  <a:lnTo>
                    <a:pt x="0" y="249"/>
                  </a:lnTo>
                  <a:lnTo>
                    <a:pt x="5" y="246"/>
                  </a:lnTo>
                  <a:lnTo>
                    <a:pt x="12" y="246"/>
                  </a:lnTo>
                  <a:lnTo>
                    <a:pt x="14" y="246"/>
                  </a:lnTo>
                  <a:lnTo>
                    <a:pt x="12" y="249"/>
                  </a:lnTo>
                  <a:lnTo>
                    <a:pt x="14" y="249"/>
                  </a:lnTo>
                  <a:lnTo>
                    <a:pt x="17" y="246"/>
                  </a:lnTo>
                  <a:lnTo>
                    <a:pt x="21" y="251"/>
                  </a:lnTo>
                  <a:lnTo>
                    <a:pt x="26" y="253"/>
                  </a:lnTo>
                  <a:lnTo>
                    <a:pt x="31" y="256"/>
                  </a:lnTo>
                  <a:lnTo>
                    <a:pt x="35" y="258"/>
                  </a:lnTo>
                  <a:lnTo>
                    <a:pt x="40" y="263"/>
                  </a:lnTo>
                  <a:lnTo>
                    <a:pt x="42" y="263"/>
                  </a:lnTo>
                  <a:lnTo>
                    <a:pt x="47" y="263"/>
                  </a:lnTo>
                  <a:lnTo>
                    <a:pt x="49" y="258"/>
                  </a:lnTo>
                  <a:lnTo>
                    <a:pt x="47" y="253"/>
                  </a:lnTo>
                  <a:lnTo>
                    <a:pt x="49" y="251"/>
                  </a:lnTo>
                  <a:lnTo>
                    <a:pt x="52" y="249"/>
                  </a:lnTo>
                  <a:lnTo>
                    <a:pt x="49" y="246"/>
                  </a:lnTo>
                  <a:lnTo>
                    <a:pt x="49" y="242"/>
                  </a:lnTo>
                  <a:lnTo>
                    <a:pt x="49" y="233"/>
                  </a:lnTo>
                  <a:lnTo>
                    <a:pt x="52" y="228"/>
                  </a:lnTo>
                  <a:lnTo>
                    <a:pt x="47" y="223"/>
                  </a:lnTo>
                  <a:lnTo>
                    <a:pt x="49" y="219"/>
                  </a:lnTo>
                  <a:lnTo>
                    <a:pt x="49" y="214"/>
                  </a:lnTo>
                  <a:lnTo>
                    <a:pt x="47" y="205"/>
                  </a:lnTo>
                  <a:lnTo>
                    <a:pt x="45" y="198"/>
                  </a:lnTo>
                  <a:lnTo>
                    <a:pt x="47" y="198"/>
                  </a:lnTo>
                  <a:lnTo>
                    <a:pt x="54" y="200"/>
                  </a:lnTo>
                  <a:lnTo>
                    <a:pt x="56" y="200"/>
                  </a:lnTo>
                  <a:lnTo>
                    <a:pt x="58" y="198"/>
                  </a:lnTo>
                  <a:lnTo>
                    <a:pt x="63" y="195"/>
                  </a:lnTo>
                  <a:lnTo>
                    <a:pt x="68" y="200"/>
                  </a:lnTo>
                  <a:lnTo>
                    <a:pt x="70" y="198"/>
                  </a:lnTo>
                  <a:lnTo>
                    <a:pt x="70" y="193"/>
                  </a:lnTo>
                  <a:lnTo>
                    <a:pt x="72" y="188"/>
                  </a:lnTo>
                  <a:lnTo>
                    <a:pt x="72" y="181"/>
                  </a:lnTo>
                  <a:lnTo>
                    <a:pt x="79" y="181"/>
                  </a:lnTo>
                  <a:lnTo>
                    <a:pt x="79" y="179"/>
                  </a:lnTo>
                  <a:lnTo>
                    <a:pt x="77" y="177"/>
                  </a:lnTo>
                  <a:lnTo>
                    <a:pt x="77" y="174"/>
                  </a:lnTo>
                  <a:lnTo>
                    <a:pt x="72" y="170"/>
                  </a:lnTo>
                  <a:lnTo>
                    <a:pt x="70" y="163"/>
                  </a:lnTo>
                  <a:lnTo>
                    <a:pt x="72" y="161"/>
                  </a:lnTo>
                  <a:lnTo>
                    <a:pt x="77" y="161"/>
                  </a:lnTo>
                  <a:lnTo>
                    <a:pt x="77" y="158"/>
                  </a:lnTo>
                  <a:lnTo>
                    <a:pt x="77" y="154"/>
                  </a:lnTo>
                  <a:lnTo>
                    <a:pt x="75" y="151"/>
                  </a:lnTo>
                  <a:lnTo>
                    <a:pt x="72" y="144"/>
                  </a:lnTo>
                  <a:lnTo>
                    <a:pt x="70" y="142"/>
                  </a:lnTo>
                  <a:lnTo>
                    <a:pt x="70" y="137"/>
                  </a:lnTo>
                  <a:lnTo>
                    <a:pt x="68" y="137"/>
                  </a:lnTo>
                  <a:lnTo>
                    <a:pt x="63" y="126"/>
                  </a:lnTo>
                  <a:lnTo>
                    <a:pt x="61" y="126"/>
                  </a:lnTo>
                  <a:lnTo>
                    <a:pt x="61" y="123"/>
                  </a:lnTo>
                  <a:lnTo>
                    <a:pt x="61" y="119"/>
                  </a:lnTo>
                  <a:lnTo>
                    <a:pt x="63" y="116"/>
                  </a:lnTo>
                  <a:lnTo>
                    <a:pt x="65" y="112"/>
                  </a:lnTo>
                  <a:lnTo>
                    <a:pt x="63" y="107"/>
                  </a:lnTo>
                  <a:lnTo>
                    <a:pt x="63" y="102"/>
                  </a:lnTo>
                  <a:lnTo>
                    <a:pt x="63" y="100"/>
                  </a:lnTo>
                  <a:lnTo>
                    <a:pt x="68" y="102"/>
                  </a:lnTo>
                  <a:lnTo>
                    <a:pt x="68" y="100"/>
                  </a:lnTo>
                  <a:lnTo>
                    <a:pt x="68" y="98"/>
                  </a:lnTo>
                  <a:lnTo>
                    <a:pt x="65" y="93"/>
                  </a:lnTo>
                  <a:lnTo>
                    <a:pt x="65" y="88"/>
                  </a:lnTo>
                  <a:lnTo>
                    <a:pt x="65" y="82"/>
                  </a:lnTo>
                  <a:lnTo>
                    <a:pt x="63" y="77"/>
                  </a:lnTo>
                  <a:lnTo>
                    <a:pt x="68" y="72"/>
                  </a:lnTo>
                  <a:lnTo>
                    <a:pt x="70" y="61"/>
                  </a:lnTo>
                  <a:lnTo>
                    <a:pt x="75" y="54"/>
                  </a:lnTo>
                  <a:lnTo>
                    <a:pt x="77" y="54"/>
                  </a:lnTo>
                  <a:lnTo>
                    <a:pt x="77" y="49"/>
                  </a:lnTo>
                  <a:lnTo>
                    <a:pt x="82" y="44"/>
                  </a:lnTo>
                  <a:lnTo>
                    <a:pt x="82" y="42"/>
                  </a:lnTo>
                  <a:lnTo>
                    <a:pt x="77" y="37"/>
                  </a:lnTo>
                  <a:lnTo>
                    <a:pt x="79" y="33"/>
                  </a:lnTo>
                  <a:lnTo>
                    <a:pt x="84" y="40"/>
                  </a:lnTo>
                  <a:lnTo>
                    <a:pt x="86" y="40"/>
                  </a:lnTo>
                  <a:lnTo>
                    <a:pt x="86" y="37"/>
                  </a:lnTo>
                  <a:lnTo>
                    <a:pt x="91" y="37"/>
                  </a:lnTo>
                  <a:lnTo>
                    <a:pt x="93" y="35"/>
                  </a:lnTo>
                  <a:lnTo>
                    <a:pt x="98" y="35"/>
                  </a:lnTo>
                  <a:lnTo>
                    <a:pt x="98" y="33"/>
                  </a:lnTo>
                  <a:lnTo>
                    <a:pt x="103" y="23"/>
                  </a:lnTo>
                  <a:lnTo>
                    <a:pt x="103" y="19"/>
                  </a:lnTo>
                  <a:lnTo>
                    <a:pt x="105" y="14"/>
                  </a:lnTo>
                  <a:lnTo>
                    <a:pt x="107" y="12"/>
                  </a:lnTo>
                  <a:lnTo>
                    <a:pt x="112" y="12"/>
                  </a:lnTo>
                  <a:lnTo>
                    <a:pt x="112" y="9"/>
                  </a:lnTo>
                  <a:lnTo>
                    <a:pt x="114" y="9"/>
                  </a:lnTo>
                  <a:lnTo>
                    <a:pt x="117" y="9"/>
                  </a:lnTo>
                  <a:lnTo>
                    <a:pt x="119" y="14"/>
                  </a:lnTo>
                  <a:lnTo>
                    <a:pt x="124" y="14"/>
                  </a:lnTo>
                  <a:lnTo>
                    <a:pt x="124" y="12"/>
                  </a:lnTo>
                  <a:lnTo>
                    <a:pt x="121" y="7"/>
                  </a:lnTo>
                  <a:lnTo>
                    <a:pt x="126" y="5"/>
                  </a:lnTo>
                  <a:lnTo>
                    <a:pt x="128" y="0"/>
                  </a:lnTo>
                  <a:lnTo>
                    <a:pt x="131" y="0"/>
                  </a:lnTo>
                  <a:lnTo>
                    <a:pt x="140" y="16"/>
                  </a:lnTo>
                  <a:lnTo>
                    <a:pt x="138" y="16"/>
                  </a:lnTo>
                  <a:lnTo>
                    <a:pt x="135" y="16"/>
                  </a:lnTo>
                  <a:lnTo>
                    <a:pt x="128" y="19"/>
                  </a:lnTo>
                  <a:lnTo>
                    <a:pt x="131" y="21"/>
                  </a:lnTo>
                  <a:lnTo>
                    <a:pt x="131" y="28"/>
                  </a:lnTo>
                  <a:lnTo>
                    <a:pt x="131" y="30"/>
                  </a:lnTo>
                  <a:lnTo>
                    <a:pt x="133" y="42"/>
                  </a:lnTo>
                  <a:lnTo>
                    <a:pt x="135" y="42"/>
                  </a:lnTo>
                  <a:lnTo>
                    <a:pt x="142" y="44"/>
                  </a:lnTo>
                  <a:lnTo>
                    <a:pt x="147" y="42"/>
                  </a:lnTo>
                  <a:lnTo>
                    <a:pt x="149" y="42"/>
                  </a:lnTo>
                  <a:lnTo>
                    <a:pt x="154" y="40"/>
                  </a:lnTo>
                  <a:lnTo>
                    <a:pt x="154" y="37"/>
                  </a:lnTo>
                  <a:lnTo>
                    <a:pt x="149" y="35"/>
                  </a:lnTo>
                  <a:lnTo>
                    <a:pt x="154" y="33"/>
                  </a:lnTo>
                  <a:lnTo>
                    <a:pt x="156" y="30"/>
                  </a:lnTo>
                  <a:lnTo>
                    <a:pt x="166" y="30"/>
                  </a:lnTo>
                  <a:lnTo>
                    <a:pt x="168" y="28"/>
                  </a:lnTo>
                  <a:lnTo>
                    <a:pt x="173" y="28"/>
                  </a:lnTo>
                  <a:lnTo>
                    <a:pt x="180" y="26"/>
                  </a:lnTo>
                  <a:lnTo>
                    <a:pt x="180" y="28"/>
                  </a:lnTo>
                  <a:lnTo>
                    <a:pt x="184" y="40"/>
                  </a:lnTo>
                  <a:lnTo>
                    <a:pt x="189" y="37"/>
                  </a:lnTo>
                  <a:lnTo>
                    <a:pt x="191" y="37"/>
                  </a:lnTo>
                  <a:lnTo>
                    <a:pt x="191" y="33"/>
                  </a:lnTo>
                  <a:lnTo>
                    <a:pt x="193" y="33"/>
                  </a:lnTo>
                  <a:lnTo>
                    <a:pt x="196" y="30"/>
                  </a:lnTo>
                  <a:lnTo>
                    <a:pt x="193" y="26"/>
                  </a:lnTo>
                  <a:lnTo>
                    <a:pt x="191" y="21"/>
                  </a:lnTo>
                  <a:lnTo>
                    <a:pt x="189" y="21"/>
                  </a:lnTo>
                  <a:lnTo>
                    <a:pt x="191" y="19"/>
                  </a:lnTo>
                  <a:lnTo>
                    <a:pt x="198" y="16"/>
                  </a:lnTo>
                  <a:lnTo>
                    <a:pt x="200" y="16"/>
                  </a:lnTo>
                  <a:lnTo>
                    <a:pt x="200" y="14"/>
                  </a:lnTo>
                  <a:lnTo>
                    <a:pt x="200" y="12"/>
                  </a:lnTo>
                  <a:lnTo>
                    <a:pt x="205" y="14"/>
                  </a:lnTo>
                  <a:lnTo>
                    <a:pt x="207" y="12"/>
                  </a:lnTo>
                  <a:lnTo>
                    <a:pt x="212" y="12"/>
                  </a:lnTo>
                  <a:lnTo>
                    <a:pt x="224" y="7"/>
                  </a:lnTo>
                  <a:lnTo>
                    <a:pt x="228" y="12"/>
                  </a:lnTo>
                  <a:close/>
                </a:path>
              </a:pathLst>
            </a:custGeom>
            <a:solidFill>
              <a:srgbClr val="104F75"/>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5" name="Freeform 14">
              <a:extLst>
                <a:ext uri="{FF2B5EF4-FFF2-40B4-BE49-F238E27FC236}">
                  <a16:creationId xmlns:a16="http://schemas.microsoft.com/office/drawing/2014/main" id="{BFD3107F-F7B7-EB8C-6C71-2DFEB2186BFC}"/>
                </a:ext>
              </a:extLst>
            </p:cNvPr>
            <p:cNvSpPr>
              <a:spLocks noEditPoints="1"/>
            </p:cNvSpPr>
            <p:nvPr/>
          </p:nvSpPr>
          <p:spPr bwMode="auto">
            <a:xfrm>
              <a:off x="7694486" y="4492270"/>
              <a:ext cx="1200150" cy="619125"/>
            </a:xfrm>
            <a:custGeom>
              <a:avLst/>
              <a:gdLst>
                <a:gd name="T0" fmla="*/ 0 w 756"/>
                <a:gd name="T1" fmla="*/ 355 h 390"/>
                <a:gd name="T2" fmla="*/ 742 w 756"/>
                <a:gd name="T3" fmla="*/ 4 h 390"/>
                <a:gd name="T4" fmla="*/ 752 w 756"/>
                <a:gd name="T5" fmla="*/ 41 h 390"/>
                <a:gd name="T6" fmla="*/ 738 w 756"/>
                <a:gd name="T7" fmla="*/ 97 h 390"/>
                <a:gd name="T8" fmla="*/ 738 w 756"/>
                <a:gd name="T9" fmla="*/ 134 h 390"/>
                <a:gd name="T10" fmla="*/ 747 w 756"/>
                <a:gd name="T11" fmla="*/ 171 h 390"/>
                <a:gd name="T12" fmla="*/ 726 w 756"/>
                <a:gd name="T13" fmla="*/ 197 h 390"/>
                <a:gd name="T14" fmla="*/ 719 w 756"/>
                <a:gd name="T15" fmla="*/ 243 h 390"/>
                <a:gd name="T16" fmla="*/ 691 w 756"/>
                <a:gd name="T17" fmla="*/ 248 h 390"/>
                <a:gd name="T18" fmla="*/ 684 w 756"/>
                <a:gd name="T19" fmla="*/ 260 h 390"/>
                <a:gd name="T20" fmla="*/ 694 w 756"/>
                <a:gd name="T21" fmla="*/ 297 h 390"/>
                <a:gd name="T22" fmla="*/ 670 w 756"/>
                <a:gd name="T23" fmla="*/ 306 h 390"/>
                <a:gd name="T24" fmla="*/ 649 w 756"/>
                <a:gd name="T25" fmla="*/ 302 h 390"/>
                <a:gd name="T26" fmla="*/ 656 w 756"/>
                <a:gd name="T27" fmla="*/ 313 h 390"/>
                <a:gd name="T28" fmla="*/ 628 w 756"/>
                <a:gd name="T29" fmla="*/ 323 h 390"/>
                <a:gd name="T30" fmla="*/ 584 w 756"/>
                <a:gd name="T31" fmla="*/ 334 h 390"/>
                <a:gd name="T32" fmla="*/ 503 w 756"/>
                <a:gd name="T33" fmla="*/ 281 h 390"/>
                <a:gd name="T34" fmla="*/ 470 w 756"/>
                <a:gd name="T35" fmla="*/ 285 h 390"/>
                <a:gd name="T36" fmla="*/ 442 w 756"/>
                <a:gd name="T37" fmla="*/ 278 h 390"/>
                <a:gd name="T38" fmla="*/ 431 w 756"/>
                <a:gd name="T39" fmla="*/ 316 h 390"/>
                <a:gd name="T40" fmla="*/ 426 w 756"/>
                <a:gd name="T41" fmla="*/ 341 h 390"/>
                <a:gd name="T42" fmla="*/ 400 w 756"/>
                <a:gd name="T43" fmla="*/ 362 h 390"/>
                <a:gd name="T44" fmla="*/ 368 w 756"/>
                <a:gd name="T45" fmla="*/ 355 h 390"/>
                <a:gd name="T46" fmla="*/ 344 w 756"/>
                <a:gd name="T47" fmla="*/ 341 h 390"/>
                <a:gd name="T48" fmla="*/ 331 w 756"/>
                <a:gd name="T49" fmla="*/ 316 h 390"/>
                <a:gd name="T50" fmla="*/ 326 w 756"/>
                <a:gd name="T51" fmla="*/ 313 h 390"/>
                <a:gd name="T52" fmla="*/ 324 w 756"/>
                <a:gd name="T53" fmla="*/ 327 h 390"/>
                <a:gd name="T54" fmla="*/ 319 w 756"/>
                <a:gd name="T55" fmla="*/ 327 h 390"/>
                <a:gd name="T56" fmla="*/ 249 w 756"/>
                <a:gd name="T57" fmla="*/ 320 h 390"/>
                <a:gd name="T58" fmla="*/ 228 w 756"/>
                <a:gd name="T59" fmla="*/ 339 h 390"/>
                <a:gd name="T60" fmla="*/ 196 w 756"/>
                <a:gd name="T61" fmla="*/ 343 h 390"/>
                <a:gd name="T62" fmla="*/ 182 w 756"/>
                <a:gd name="T63" fmla="*/ 360 h 390"/>
                <a:gd name="T64" fmla="*/ 175 w 756"/>
                <a:gd name="T65" fmla="*/ 378 h 390"/>
                <a:gd name="T66" fmla="*/ 161 w 756"/>
                <a:gd name="T67" fmla="*/ 369 h 390"/>
                <a:gd name="T68" fmla="*/ 123 w 756"/>
                <a:gd name="T69" fmla="*/ 348 h 390"/>
                <a:gd name="T70" fmla="*/ 100 w 756"/>
                <a:gd name="T71" fmla="*/ 341 h 390"/>
                <a:gd name="T72" fmla="*/ 140 w 756"/>
                <a:gd name="T73" fmla="*/ 327 h 390"/>
                <a:gd name="T74" fmla="*/ 191 w 756"/>
                <a:gd name="T75" fmla="*/ 304 h 390"/>
                <a:gd name="T76" fmla="*/ 214 w 756"/>
                <a:gd name="T77" fmla="*/ 276 h 390"/>
                <a:gd name="T78" fmla="*/ 228 w 756"/>
                <a:gd name="T79" fmla="*/ 271 h 390"/>
                <a:gd name="T80" fmla="*/ 237 w 756"/>
                <a:gd name="T81" fmla="*/ 257 h 390"/>
                <a:gd name="T82" fmla="*/ 279 w 756"/>
                <a:gd name="T83" fmla="*/ 234 h 390"/>
                <a:gd name="T84" fmla="*/ 307 w 756"/>
                <a:gd name="T85" fmla="*/ 178 h 390"/>
                <a:gd name="T86" fmla="*/ 354 w 756"/>
                <a:gd name="T87" fmla="*/ 171 h 390"/>
                <a:gd name="T88" fmla="*/ 361 w 756"/>
                <a:gd name="T89" fmla="*/ 148 h 390"/>
                <a:gd name="T90" fmla="*/ 433 w 756"/>
                <a:gd name="T91" fmla="*/ 146 h 390"/>
                <a:gd name="T92" fmla="*/ 528 w 756"/>
                <a:gd name="T93" fmla="*/ 167 h 390"/>
                <a:gd name="T94" fmla="*/ 535 w 756"/>
                <a:gd name="T95" fmla="*/ 146 h 390"/>
                <a:gd name="T96" fmla="*/ 568 w 756"/>
                <a:gd name="T97" fmla="*/ 116 h 390"/>
                <a:gd name="T98" fmla="*/ 607 w 756"/>
                <a:gd name="T99" fmla="*/ 88 h 390"/>
                <a:gd name="T100" fmla="*/ 640 w 756"/>
                <a:gd name="T101" fmla="*/ 62 h 390"/>
                <a:gd name="T102" fmla="*/ 607 w 756"/>
                <a:gd name="T103" fmla="*/ 76 h 390"/>
                <a:gd name="T104" fmla="*/ 596 w 756"/>
                <a:gd name="T105" fmla="*/ 65 h 390"/>
                <a:gd name="T106" fmla="*/ 605 w 756"/>
                <a:gd name="T107" fmla="*/ 37 h 390"/>
                <a:gd name="T108" fmla="*/ 638 w 756"/>
                <a:gd name="T109" fmla="*/ 27 h 390"/>
                <a:gd name="T110" fmla="*/ 647 w 756"/>
                <a:gd name="T111" fmla="*/ 9 h 390"/>
                <a:gd name="T112" fmla="*/ 677 w 756"/>
                <a:gd name="T113" fmla="*/ 11 h 390"/>
                <a:gd name="T114" fmla="*/ 712 w 756"/>
                <a:gd name="T115" fmla="*/ 13 h 390"/>
                <a:gd name="T116" fmla="*/ 735 w 756"/>
                <a:gd name="T117"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56" h="390">
                  <a:moveTo>
                    <a:pt x="7" y="364"/>
                  </a:moveTo>
                  <a:lnTo>
                    <a:pt x="5" y="367"/>
                  </a:lnTo>
                  <a:lnTo>
                    <a:pt x="5" y="364"/>
                  </a:lnTo>
                  <a:lnTo>
                    <a:pt x="5" y="362"/>
                  </a:lnTo>
                  <a:lnTo>
                    <a:pt x="7" y="360"/>
                  </a:lnTo>
                  <a:lnTo>
                    <a:pt x="7" y="362"/>
                  </a:lnTo>
                  <a:lnTo>
                    <a:pt x="7" y="364"/>
                  </a:lnTo>
                  <a:close/>
                  <a:moveTo>
                    <a:pt x="2" y="355"/>
                  </a:moveTo>
                  <a:lnTo>
                    <a:pt x="2" y="357"/>
                  </a:lnTo>
                  <a:lnTo>
                    <a:pt x="0" y="357"/>
                  </a:lnTo>
                  <a:lnTo>
                    <a:pt x="0" y="355"/>
                  </a:lnTo>
                  <a:lnTo>
                    <a:pt x="0" y="353"/>
                  </a:lnTo>
                  <a:lnTo>
                    <a:pt x="2" y="353"/>
                  </a:lnTo>
                  <a:lnTo>
                    <a:pt x="2" y="355"/>
                  </a:lnTo>
                  <a:close/>
                  <a:moveTo>
                    <a:pt x="296" y="137"/>
                  </a:moveTo>
                  <a:lnTo>
                    <a:pt x="293" y="137"/>
                  </a:lnTo>
                  <a:lnTo>
                    <a:pt x="293" y="132"/>
                  </a:lnTo>
                  <a:lnTo>
                    <a:pt x="296" y="130"/>
                  </a:lnTo>
                  <a:lnTo>
                    <a:pt x="296" y="132"/>
                  </a:lnTo>
                  <a:lnTo>
                    <a:pt x="296" y="134"/>
                  </a:lnTo>
                  <a:lnTo>
                    <a:pt x="296" y="137"/>
                  </a:lnTo>
                  <a:close/>
                  <a:moveTo>
                    <a:pt x="742" y="4"/>
                  </a:moveTo>
                  <a:lnTo>
                    <a:pt x="745" y="9"/>
                  </a:lnTo>
                  <a:lnTo>
                    <a:pt x="747" y="18"/>
                  </a:lnTo>
                  <a:lnTo>
                    <a:pt x="749" y="20"/>
                  </a:lnTo>
                  <a:lnTo>
                    <a:pt x="754" y="20"/>
                  </a:lnTo>
                  <a:lnTo>
                    <a:pt x="756" y="20"/>
                  </a:lnTo>
                  <a:lnTo>
                    <a:pt x="752" y="25"/>
                  </a:lnTo>
                  <a:lnTo>
                    <a:pt x="749" y="27"/>
                  </a:lnTo>
                  <a:lnTo>
                    <a:pt x="749" y="30"/>
                  </a:lnTo>
                  <a:lnTo>
                    <a:pt x="747" y="34"/>
                  </a:lnTo>
                  <a:lnTo>
                    <a:pt x="752" y="39"/>
                  </a:lnTo>
                  <a:lnTo>
                    <a:pt x="752" y="41"/>
                  </a:lnTo>
                  <a:lnTo>
                    <a:pt x="747" y="46"/>
                  </a:lnTo>
                  <a:lnTo>
                    <a:pt x="747" y="51"/>
                  </a:lnTo>
                  <a:lnTo>
                    <a:pt x="745" y="51"/>
                  </a:lnTo>
                  <a:lnTo>
                    <a:pt x="740" y="58"/>
                  </a:lnTo>
                  <a:lnTo>
                    <a:pt x="738" y="69"/>
                  </a:lnTo>
                  <a:lnTo>
                    <a:pt x="733" y="74"/>
                  </a:lnTo>
                  <a:lnTo>
                    <a:pt x="735" y="79"/>
                  </a:lnTo>
                  <a:lnTo>
                    <a:pt x="735" y="85"/>
                  </a:lnTo>
                  <a:lnTo>
                    <a:pt x="735" y="90"/>
                  </a:lnTo>
                  <a:lnTo>
                    <a:pt x="738" y="95"/>
                  </a:lnTo>
                  <a:lnTo>
                    <a:pt x="738" y="97"/>
                  </a:lnTo>
                  <a:lnTo>
                    <a:pt x="738" y="99"/>
                  </a:lnTo>
                  <a:lnTo>
                    <a:pt x="733" y="97"/>
                  </a:lnTo>
                  <a:lnTo>
                    <a:pt x="733" y="99"/>
                  </a:lnTo>
                  <a:lnTo>
                    <a:pt x="733" y="104"/>
                  </a:lnTo>
                  <a:lnTo>
                    <a:pt x="735" y="109"/>
                  </a:lnTo>
                  <a:lnTo>
                    <a:pt x="733" y="113"/>
                  </a:lnTo>
                  <a:lnTo>
                    <a:pt x="731" y="116"/>
                  </a:lnTo>
                  <a:lnTo>
                    <a:pt x="731" y="120"/>
                  </a:lnTo>
                  <a:lnTo>
                    <a:pt x="731" y="123"/>
                  </a:lnTo>
                  <a:lnTo>
                    <a:pt x="733" y="123"/>
                  </a:lnTo>
                  <a:lnTo>
                    <a:pt x="738" y="134"/>
                  </a:lnTo>
                  <a:lnTo>
                    <a:pt x="740" y="134"/>
                  </a:lnTo>
                  <a:lnTo>
                    <a:pt x="740" y="139"/>
                  </a:lnTo>
                  <a:lnTo>
                    <a:pt x="742" y="141"/>
                  </a:lnTo>
                  <a:lnTo>
                    <a:pt x="745" y="148"/>
                  </a:lnTo>
                  <a:lnTo>
                    <a:pt x="747" y="151"/>
                  </a:lnTo>
                  <a:lnTo>
                    <a:pt x="747" y="155"/>
                  </a:lnTo>
                  <a:lnTo>
                    <a:pt x="747" y="158"/>
                  </a:lnTo>
                  <a:lnTo>
                    <a:pt x="742" y="158"/>
                  </a:lnTo>
                  <a:lnTo>
                    <a:pt x="740" y="160"/>
                  </a:lnTo>
                  <a:lnTo>
                    <a:pt x="742" y="167"/>
                  </a:lnTo>
                  <a:lnTo>
                    <a:pt x="747" y="171"/>
                  </a:lnTo>
                  <a:lnTo>
                    <a:pt x="747" y="174"/>
                  </a:lnTo>
                  <a:lnTo>
                    <a:pt x="749" y="176"/>
                  </a:lnTo>
                  <a:lnTo>
                    <a:pt x="749" y="178"/>
                  </a:lnTo>
                  <a:lnTo>
                    <a:pt x="742" y="178"/>
                  </a:lnTo>
                  <a:lnTo>
                    <a:pt x="742" y="185"/>
                  </a:lnTo>
                  <a:lnTo>
                    <a:pt x="740" y="190"/>
                  </a:lnTo>
                  <a:lnTo>
                    <a:pt x="740" y="195"/>
                  </a:lnTo>
                  <a:lnTo>
                    <a:pt x="738" y="197"/>
                  </a:lnTo>
                  <a:lnTo>
                    <a:pt x="733" y="192"/>
                  </a:lnTo>
                  <a:lnTo>
                    <a:pt x="728" y="195"/>
                  </a:lnTo>
                  <a:lnTo>
                    <a:pt x="726" y="197"/>
                  </a:lnTo>
                  <a:lnTo>
                    <a:pt x="724" y="197"/>
                  </a:lnTo>
                  <a:lnTo>
                    <a:pt x="717" y="195"/>
                  </a:lnTo>
                  <a:lnTo>
                    <a:pt x="715" y="195"/>
                  </a:lnTo>
                  <a:lnTo>
                    <a:pt x="717" y="202"/>
                  </a:lnTo>
                  <a:lnTo>
                    <a:pt x="719" y="211"/>
                  </a:lnTo>
                  <a:lnTo>
                    <a:pt x="719" y="216"/>
                  </a:lnTo>
                  <a:lnTo>
                    <a:pt x="717" y="220"/>
                  </a:lnTo>
                  <a:lnTo>
                    <a:pt x="722" y="225"/>
                  </a:lnTo>
                  <a:lnTo>
                    <a:pt x="719" y="230"/>
                  </a:lnTo>
                  <a:lnTo>
                    <a:pt x="719" y="239"/>
                  </a:lnTo>
                  <a:lnTo>
                    <a:pt x="719" y="243"/>
                  </a:lnTo>
                  <a:lnTo>
                    <a:pt x="722" y="246"/>
                  </a:lnTo>
                  <a:lnTo>
                    <a:pt x="719" y="248"/>
                  </a:lnTo>
                  <a:lnTo>
                    <a:pt x="717" y="250"/>
                  </a:lnTo>
                  <a:lnTo>
                    <a:pt x="719" y="255"/>
                  </a:lnTo>
                  <a:lnTo>
                    <a:pt x="717" y="260"/>
                  </a:lnTo>
                  <a:lnTo>
                    <a:pt x="712" y="260"/>
                  </a:lnTo>
                  <a:lnTo>
                    <a:pt x="710" y="260"/>
                  </a:lnTo>
                  <a:lnTo>
                    <a:pt x="705" y="255"/>
                  </a:lnTo>
                  <a:lnTo>
                    <a:pt x="701" y="253"/>
                  </a:lnTo>
                  <a:lnTo>
                    <a:pt x="696" y="250"/>
                  </a:lnTo>
                  <a:lnTo>
                    <a:pt x="691" y="248"/>
                  </a:lnTo>
                  <a:lnTo>
                    <a:pt x="687" y="243"/>
                  </a:lnTo>
                  <a:lnTo>
                    <a:pt x="684" y="246"/>
                  </a:lnTo>
                  <a:lnTo>
                    <a:pt x="682" y="246"/>
                  </a:lnTo>
                  <a:lnTo>
                    <a:pt x="684" y="243"/>
                  </a:lnTo>
                  <a:lnTo>
                    <a:pt x="682" y="243"/>
                  </a:lnTo>
                  <a:lnTo>
                    <a:pt x="675" y="243"/>
                  </a:lnTo>
                  <a:lnTo>
                    <a:pt x="670" y="246"/>
                  </a:lnTo>
                  <a:lnTo>
                    <a:pt x="675" y="257"/>
                  </a:lnTo>
                  <a:lnTo>
                    <a:pt x="677" y="262"/>
                  </a:lnTo>
                  <a:lnTo>
                    <a:pt x="680" y="262"/>
                  </a:lnTo>
                  <a:lnTo>
                    <a:pt x="684" y="260"/>
                  </a:lnTo>
                  <a:lnTo>
                    <a:pt x="689" y="262"/>
                  </a:lnTo>
                  <a:lnTo>
                    <a:pt x="687" y="267"/>
                  </a:lnTo>
                  <a:lnTo>
                    <a:pt x="682" y="269"/>
                  </a:lnTo>
                  <a:lnTo>
                    <a:pt x="682" y="276"/>
                  </a:lnTo>
                  <a:lnTo>
                    <a:pt x="687" y="276"/>
                  </a:lnTo>
                  <a:lnTo>
                    <a:pt x="687" y="283"/>
                  </a:lnTo>
                  <a:lnTo>
                    <a:pt x="684" y="288"/>
                  </a:lnTo>
                  <a:lnTo>
                    <a:pt x="684" y="290"/>
                  </a:lnTo>
                  <a:lnTo>
                    <a:pt x="684" y="295"/>
                  </a:lnTo>
                  <a:lnTo>
                    <a:pt x="687" y="299"/>
                  </a:lnTo>
                  <a:lnTo>
                    <a:pt x="694" y="297"/>
                  </a:lnTo>
                  <a:lnTo>
                    <a:pt x="694" y="302"/>
                  </a:lnTo>
                  <a:lnTo>
                    <a:pt x="701" y="304"/>
                  </a:lnTo>
                  <a:lnTo>
                    <a:pt x="701" y="306"/>
                  </a:lnTo>
                  <a:lnTo>
                    <a:pt x="698" y="306"/>
                  </a:lnTo>
                  <a:lnTo>
                    <a:pt x="696" y="306"/>
                  </a:lnTo>
                  <a:lnTo>
                    <a:pt x="689" y="309"/>
                  </a:lnTo>
                  <a:lnTo>
                    <a:pt x="687" y="309"/>
                  </a:lnTo>
                  <a:lnTo>
                    <a:pt x="682" y="309"/>
                  </a:lnTo>
                  <a:lnTo>
                    <a:pt x="677" y="306"/>
                  </a:lnTo>
                  <a:lnTo>
                    <a:pt x="675" y="306"/>
                  </a:lnTo>
                  <a:lnTo>
                    <a:pt x="670" y="306"/>
                  </a:lnTo>
                  <a:lnTo>
                    <a:pt x="668" y="309"/>
                  </a:lnTo>
                  <a:lnTo>
                    <a:pt x="666" y="309"/>
                  </a:lnTo>
                  <a:lnTo>
                    <a:pt x="663" y="311"/>
                  </a:lnTo>
                  <a:lnTo>
                    <a:pt x="661" y="313"/>
                  </a:lnTo>
                  <a:lnTo>
                    <a:pt x="661" y="311"/>
                  </a:lnTo>
                  <a:lnTo>
                    <a:pt x="661" y="309"/>
                  </a:lnTo>
                  <a:lnTo>
                    <a:pt x="661" y="306"/>
                  </a:lnTo>
                  <a:lnTo>
                    <a:pt x="656" y="304"/>
                  </a:lnTo>
                  <a:lnTo>
                    <a:pt x="652" y="304"/>
                  </a:lnTo>
                  <a:lnTo>
                    <a:pt x="649" y="304"/>
                  </a:lnTo>
                  <a:lnTo>
                    <a:pt x="649" y="302"/>
                  </a:lnTo>
                  <a:lnTo>
                    <a:pt x="649" y="299"/>
                  </a:lnTo>
                  <a:lnTo>
                    <a:pt x="647" y="299"/>
                  </a:lnTo>
                  <a:lnTo>
                    <a:pt x="640" y="306"/>
                  </a:lnTo>
                  <a:lnTo>
                    <a:pt x="642" y="306"/>
                  </a:lnTo>
                  <a:lnTo>
                    <a:pt x="645" y="306"/>
                  </a:lnTo>
                  <a:lnTo>
                    <a:pt x="647" y="306"/>
                  </a:lnTo>
                  <a:lnTo>
                    <a:pt x="649" y="304"/>
                  </a:lnTo>
                  <a:lnTo>
                    <a:pt x="652" y="311"/>
                  </a:lnTo>
                  <a:lnTo>
                    <a:pt x="652" y="313"/>
                  </a:lnTo>
                  <a:lnTo>
                    <a:pt x="654" y="313"/>
                  </a:lnTo>
                  <a:lnTo>
                    <a:pt x="656" y="313"/>
                  </a:lnTo>
                  <a:lnTo>
                    <a:pt x="659" y="316"/>
                  </a:lnTo>
                  <a:lnTo>
                    <a:pt x="659" y="318"/>
                  </a:lnTo>
                  <a:lnTo>
                    <a:pt x="659" y="320"/>
                  </a:lnTo>
                  <a:lnTo>
                    <a:pt x="659" y="323"/>
                  </a:lnTo>
                  <a:lnTo>
                    <a:pt x="661" y="323"/>
                  </a:lnTo>
                  <a:lnTo>
                    <a:pt x="654" y="327"/>
                  </a:lnTo>
                  <a:lnTo>
                    <a:pt x="654" y="332"/>
                  </a:lnTo>
                  <a:lnTo>
                    <a:pt x="652" y="332"/>
                  </a:lnTo>
                  <a:lnTo>
                    <a:pt x="640" y="329"/>
                  </a:lnTo>
                  <a:lnTo>
                    <a:pt x="638" y="329"/>
                  </a:lnTo>
                  <a:lnTo>
                    <a:pt x="628" y="323"/>
                  </a:lnTo>
                  <a:lnTo>
                    <a:pt x="603" y="316"/>
                  </a:lnTo>
                  <a:lnTo>
                    <a:pt x="598" y="311"/>
                  </a:lnTo>
                  <a:lnTo>
                    <a:pt x="594" y="311"/>
                  </a:lnTo>
                  <a:lnTo>
                    <a:pt x="589" y="313"/>
                  </a:lnTo>
                  <a:lnTo>
                    <a:pt x="587" y="313"/>
                  </a:lnTo>
                  <a:lnTo>
                    <a:pt x="584" y="318"/>
                  </a:lnTo>
                  <a:lnTo>
                    <a:pt x="582" y="323"/>
                  </a:lnTo>
                  <a:lnTo>
                    <a:pt x="584" y="325"/>
                  </a:lnTo>
                  <a:lnTo>
                    <a:pt x="587" y="327"/>
                  </a:lnTo>
                  <a:lnTo>
                    <a:pt x="587" y="329"/>
                  </a:lnTo>
                  <a:lnTo>
                    <a:pt x="584" y="334"/>
                  </a:lnTo>
                  <a:lnTo>
                    <a:pt x="582" y="336"/>
                  </a:lnTo>
                  <a:lnTo>
                    <a:pt x="582" y="327"/>
                  </a:lnTo>
                  <a:lnTo>
                    <a:pt x="580" y="323"/>
                  </a:lnTo>
                  <a:lnTo>
                    <a:pt x="554" y="295"/>
                  </a:lnTo>
                  <a:lnTo>
                    <a:pt x="531" y="281"/>
                  </a:lnTo>
                  <a:lnTo>
                    <a:pt x="528" y="281"/>
                  </a:lnTo>
                  <a:lnTo>
                    <a:pt x="519" y="281"/>
                  </a:lnTo>
                  <a:lnTo>
                    <a:pt x="517" y="281"/>
                  </a:lnTo>
                  <a:lnTo>
                    <a:pt x="512" y="283"/>
                  </a:lnTo>
                  <a:lnTo>
                    <a:pt x="507" y="283"/>
                  </a:lnTo>
                  <a:lnTo>
                    <a:pt x="503" y="281"/>
                  </a:lnTo>
                  <a:lnTo>
                    <a:pt x="500" y="281"/>
                  </a:lnTo>
                  <a:lnTo>
                    <a:pt x="498" y="283"/>
                  </a:lnTo>
                  <a:lnTo>
                    <a:pt x="496" y="283"/>
                  </a:lnTo>
                  <a:lnTo>
                    <a:pt x="493" y="285"/>
                  </a:lnTo>
                  <a:lnTo>
                    <a:pt x="491" y="283"/>
                  </a:lnTo>
                  <a:lnTo>
                    <a:pt x="489" y="283"/>
                  </a:lnTo>
                  <a:lnTo>
                    <a:pt x="486" y="283"/>
                  </a:lnTo>
                  <a:lnTo>
                    <a:pt x="484" y="281"/>
                  </a:lnTo>
                  <a:lnTo>
                    <a:pt x="479" y="283"/>
                  </a:lnTo>
                  <a:lnTo>
                    <a:pt x="472" y="283"/>
                  </a:lnTo>
                  <a:lnTo>
                    <a:pt x="470" y="285"/>
                  </a:lnTo>
                  <a:lnTo>
                    <a:pt x="470" y="288"/>
                  </a:lnTo>
                  <a:lnTo>
                    <a:pt x="466" y="290"/>
                  </a:lnTo>
                  <a:lnTo>
                    <a:pt x="456" y="295"/>
                  </a:lnTo>
                  <a:lnTo>
                    <a:pt x="452" y="292"/>
                  </a:lnTo>
                  <a:lnTo>
                    <a:pt x="449" y="292"/>
                  </a:lnTo>
                  <a:lnTo>
                    <a:pt x="449" y="290"/>
                  </a:lnTo>
                  <a:lnTo>
                    <a:pt x="447" y="285"/>
                  </a:lnTo>
                  <a:lnTo>
                    <a:pt x="447" y="281"/>
                  </a:lnTo>
                  <a:lnTo>
                    <a:pt x="447" y="278"/>
                  </a:lnTo>
                  <a:lnTo>
                    <a:pt x="445" y="278"/>
                  </a:lnTo>
                  <a:lnTo>
                    <a:pt x="442" y="278"/>
                  </a:lnTo>
                  <a:lnTo>
                    <a:pt x="442" y="281"/>
                  </a:lnTo>
                  <a:lnTo>
                    <a:pt x="445" y="283"/>
                  </a:lnTo>
                  <a:lnTo>
                    <a:pt x="445" y="290"/>
                  </a:lnTo>
                  <a:lnTo>
                    <a:pt x="445" y="292"/>
                  </a:lnTo>
                  <a:lnTo>
                    <a:pt x="442" y="295"/>
                  </a:lnTo>
                  <a:lnTo>
                    <a:pt x="440" y="297"/>
                  </a:lnTo>
                  <a:lnTo>
                    <a:pt x="438" y="302"/>
                  </a:lnTo>
                  <a:lnTo>
                    <a:pt x="435" y="306"/>
                  </a:lnTo>
                  <a:lnTo>
                    <a:pt x="431" y="311"/>
                  </a:lnTo>
                  <a:lnTo>
                    <a:pt x="431" y="313"/>
                  </a:lnTo>
                  <a:lnTo>
                    <a:pt x="431" y="316"/>
                  </a:lnTo>
                  <a:lnTo>
                    <a:pt x="431" y="325"/>
                  </a:lnTo>
                  <a:lnTo>
                    <a:pt x="428" y="325"/>
                  </a:lnTo>
                  <a:lnTo>
                    <a:pt x="426" y="325"/>
                  </a:lnTo>
                  <a:lnTo>
                    <a:pt x="421" y="327"/>
                  </a:lnTo>
                  <a:lnTo>
                    <a:pt x="421" y="329"/>
                  </a:lnTo>
                  <a:lnTo>
                    <a:pt x="421" y="334"/>
                  </a:lnTo>
                  <a:lnTo>
                    <a:pt x="424" y="336"/>
                  </a:lnTo>
                  <a:lnTo>
                    <a:pt x="431" y="336"/>
                  </a:lnTo>
                  <a:lnTo>
                    <a:pt x="431" y="339"/>
                  </a:lnTo>
                  <a:lnTo>
                    <a:pt x="428" y="341"/>
                  </a:lnTo>
                  <a:lnTo>
                    <a:pt x="426" y="341"/>
                  </a:lnTo>
                  <a:lnTo>
                    <a:pt x="424" y="343"/>
                  </a:lnTo>
                  <a:lnTo>
                    <a:pt x="421" y="348"/>
                  </a:lnTo>
                  <a:lnTo>
                    <a:pt x="419" y="350"/>
                  </a:lnTo>
                  <a:lnTo>
                    <a:pt x="417" y="348"/>
                  </a:lnTo>
                  <a:lnTo>
                    <a:pt x="417" y="346"/>
                  </a:lnTo>
                  <a:lnTo>
                    <a:pt x="414" y="350"/>
                  </a:lnTo>
                  <a:lnTo>
                    <a:pt x="410" y="353"/>
                  </a:lnTo>
                  <a:lnTo>
                    <a:pt x="407" y="353"/>
                  </a:lnTo>
                  <a:lnTo>
                    <a:pt x="405" y="355"/>
                  </a:lnTo>
                  <a:lnTo>
                    <a:pt x="403" y="357"/>
                  </a:lnTo>
                  <a:lnTo>
                    <a:pt x="400" y="362"/>
                  </a:lnTo>
                  <a:lnTo>
                    <a:pt x="400" y="367"/>
                  </a:lnTo>
                  <a:lnTo>
                    <a:pt x="400" y="374"/>
                  </a:lnTo>
                  <a:lnTo>
                    <a:pt x="398" y="374"/>
                  </a:lnTo>
                  <a:lnTo>
                    <a:pt x="391" y="374"/>
                  </a:lnTo>
                  <a:lnTo>
                    <a:pt x="389" y="374"/>
                  </a:lnTo>
                  <a:lnTo>
                    <a:pt x="386" y="374"/>
                  </a:lnTo>
                  <a:lnTo>
                    <a:pt x="384" y="371"/>
                  </a:lnTo>
                  <a:lnTo>
                    <a:pt x="382" y="371"/>
                  </a:lnTo>
                  <a:lnTo>
                    <a:pt x="379" y="374"/>
                  </a:lnTo>
                  <a:lnTo>
                    <a:pt x="375" y="367"/>
                  </a:lnTo>
                  <a:lnTo>
                    <a:pt x="368" y="355"/>
                  </a:lnTo>
                  <a:lnTo>
                    <a:pt x="361" y="343"/>
                  </a:lnTo>
                  <a:lnTo>
                    <a:pt x="358" y="343"/>
                  </a:lnTo>
                  <a:lnTo>
                    <a:pt x="356" y="343"/>
                  </a:lnTo>
                  <a:lnTo>
                    <a:pt x="354" y="346"/>
                  </a:lnTo>
                  <a:lnTo>
                    <a:pt x="351" y="346"/>
                  </a:lnTo>
                  <a:lnTo>
                    <a:pt x="349" y="348"/>
                  </a:lnTo>
                  <a:lnTo>
                    <a:pt x="347" y="348"/>
                  </a:lnTo>
                  <a:lnTo>
                    <a:pt x="344" y="348"/>
                  </a:lnTo>
                  <a:lnTo>
                    <a:pt x="344" y="346"/>
                  </a:lnTo>
                  <a:lnTo>
                    <a:pt x="342" y="343"/>
                  </a:lnTo>
                  <a:lnTo>
                    <a:pt x="344" y="341"/>
                  </a:lnTo>
                  <a:lnTo>
                    <a:pt x="340" y="339"/>
                  </a:lnTo>
                  <a:lnTo>
                    <a:pt x="338" y="336"/>
                  </a:lnTo>
                  <a:lnTo>
                    <a:pt x="338" y="334"/>
                  </a:lnTo>
                  <a:lnTo>
                    <a:pt x="338" y="332"/>
                  </a:lnTo>
                  <a:lnTo>
                    <a:pt x="340" y="329"/>
                  </a:lnTo>
                  <a:lnTo>
                    <a:pt x="335" y="327"/>
                  </a:lnTo>
                  <a:lnTo>
                    <a:pt x="333" y="327"/>
                  </a:lnTo>
                  <a:lnTo>
                    <a:pt x="331" y="325"/>
                  </a:lnTo>
                  <a:lnTo>
                    <a:pt x="331" y="323"/>
                  </a:lnTo>
                  <a:lnTo>
                    <a:pt x="331" y="320"/>
                  </a:lnTo>
                  <a:lnTo>
                    <a:pt x="331" y="316"/>
                  </a:lnTo>
                  <a:lnTo>
                    <a:pt x="331" y="313"/>
                  </a:lnTo>
                  <a:lnTo>
                    <a:pt x="333" y="311"/>
                  </a:lnTo>
                  <a:lnTo>
                    <a:pt x="335" y="309"/>
                  </a:lnTo>
                  <a:lnTo>
                    <a:pt x="333" y="309"/>
                  </a:lnTo>
                  <a:lnTo>
                    <a:pt x="331" y="309"/>
                  </a:lnTo>
                  <a:lnTo>
                    <a:pt x="331" y="306"/>
                  </a:lnTo>
                  <a:lnTo>
                    <a:pt x="328" y="309"/>
                  </a:lnTo>
                  <a:lnTo>
                    <a:pt x="328" y="311"/>
                  </a:lnTo>
                  <a:lnTo>
                    <a:pt x="326" y="311"/>
                  </a:lnTo>
                  <a:lnTo>
                    <a:pt x="324" y="311"/>
                  </a:lnTo>
                  <a:lnTo>
                    <a:pt x="326" y="313"/>
                  </a:lnTo>
                  <a:lnTo>
                    <a:pt x="326" y="316"/>
                  </a:lnTo>
                  <a:lnTo>
                    <a:pt x="326" y="318"/>
                  </a:lnTo>
                  <a:lnTo>
                    <a:pt x="324" y="320"/>
                  </a:lnTo>
                  <a:lnTo>
                    <a:pt x="321" y="320"/>
                  </a:lnTo>
                  <a:lnTo>
                    <a:pt x="314" y="318"/>
                  </a:lnTo>
                  <a:lnTo>
                    <a:pt x="317" y="323"/>
                  </a:lnTo>
                  <a:lnTo>
                    <a:pt x="326" y="323"/>
                  </a:lnTo>
                  <a:lnTo>
                    <a:pt x="328" y="325"/>
                  </a:lnTo>
                  <a:lnTo>
                    <a:pt x="321" y="325"/>
                  </a:lnTo>
                  <a:lnTo>
                    <a:pt x="321" y="327"/>
                  </a:lnTo>
                  <a:lnTo>
                    <a:pt x="324" y="327"/>
                  </a:lnTo>
                  <a:lnTo>
                    <a:pt x="326" y="327"/>
                  </a:lnTo>
                  <a:lnTo>
                    <a:pt x="324" y="329"/>
                  </a:lnTo>
                  <a:lnTo>
                    <a:pt x="328" y="329"/>
                  </a:lnTo>
                  <a:lnTo>
                    <a:pt x="328" y="332"/>
                  </a:lnTo>
                  <a:lnTo>
                    <a:pt x="326" y="332"/>
                  </a:lnTo>
                  <a:lnTo>
                    <a:pt x="326" y="334"/>
                  </a:lnTo>
                  <a:lnTo>
                    <a:pt x="326" y="336"/>
                  </a:lnTo>
                  <a:lnTo>
                    <a:pt x="321" y="336"/>
                  </a:lnTo>
                  <a:lnTo>
                    <a:pt x="321" y="334"/>
                  </a:lnTo>
                  <a:lnTo>
                    <a:pt x="321" y="329"/>
                  </a:lnTo>
                  <a:lnTo>
                    <a:pt x="319" y="327"/>
                  </a:lnTo>
                  <a:lnTo>
                    <a:pt x="307" y="323"/>
                  </a:lnTo>
                  <a:lnTo>
                    <a:pt x="300" y="323"/>
                  </a:lnTo>
                  <a:lnTo>
                    <a:pt x="289" y="327"/>
                  </a:lnTo>
                  <a:lnTo>
                    <a:pt x="282" y="327"/>
                  </a:lnTo>
                  <a:lnTo>
                    <a:pt x="258" y="325"/>
                  </a:lnTo>
                  <a:lnTo>
                    <a:pt x="256" y="325"/>
                  </a:lnTo>
                  <a:lnTo>
                    <a:pt x="256" y="318"/>
                  </a:lnTo>
                  <a:lnTo>
                    <a:pt x="254" y="318"/>
                  </a:lnTo>
                  <a:lnTo>
                    <a:pt x="254" y="320"/>
                  </a:lnTo>
                  <a:lnTo>
                    <a:pt x="251" y="320"/>
                  </a:lnTo>
                  <a:lnTo>
                    <a:pt x="249" y="320"/>
                  </a:lnTo>
                  <a:lnTo>
                    <a:pt x="247" y="320"/>
                  </a:lnTo>
                  <a:lnTo>
                    <a:pt x="244" y="320"/>
                  </a:lnTo>
                  <a:lnTo>
                    <a:pt x="244" y="325"/>
                  </a:lnTo>
                  <a:lnTo>
                    <a:pt x="242" y="327"/>
                  </a:lnTo>
                  <a:lnTo>
                    <a:pt x="240" y="329"/>
                  </a:lnTo>
                  <a:lnTo>
                    <a:pt x="240" y="332"/>
                  </a:lnTo>
                  <a:lnTo>
                    <a:pt x="240" y="334"/>
                  </a:lnTo>
                  <a:lnTo>
                    <a:pt x="237" y="339"/>
                  </a:lnTo>
                  <a:lnTo>
                    <a:pt x="235" y="339"/>
                  </a:lnTo>
                  <a:lnTo>
                    <a:pt x="235" y="341"/>
                  </a:lnTo>
                  <a:lnTo>
                    <a:pt x="228" y="339"/>
                  </a:lnTo>
                  <a:lnTo>
                    <a:pt x="226" y="339"/>
                  </a:lnTo>
                  <a:lnTo>
                    <a:pt x="221" y="341"/>
                  </a:lnTo>
                  <a:lnTo>
                    <a:pt x="219" y="341"/>
                  </a:lnTo>
                  <a:lnTo>
                    <a:pt x="212" y="343"/>
                  </a:lnTo>
                  <a:lnTo>
                    <a:pt x="210" y="343"/>
                  </a:lnTo>
                  <a:lnTo>
                    <a:pt x="203" y="353"/>
                  </a:lnTo>
                  <a:lnTo>
                    <a:pt x="200" y="350"/>
                  </a:lnTo>
                  <a:lnTo>
                    <a:pt x="200" y="343"/>
                  </a:lnTo>
                  <a:lnTo>
                    <a:pt x="200" y="341"/>
                  </a:lnTo>
                  <a:lnTo>
                    <a:pt x="198" y="341"/>
                  </a:lnTo>
                  <a:lnTo>
                    <a:pt x="196" y="343"/>
                  </a:lnTo>
                  <a:lnTo>
                    <a:pt x="196" y="346"/>
                  </a:lnTo>
                  <a:lnTo>
                    <a:pt x="193" y="348"/>
                  </a:lnTo>
                  <a:lnTo>
                    <a:pt x="193" y="350"/>
                  </a:lnTo>
                  <a:lnTo>
                    <a:pt x="196" y="353"/>
                  </a:lnTo>
                  <a:lnTo>
                    <a:pt x="193" y="353"/>
                  </a:lnTo>
                  <a:lnTo>
                    <a:pt x="191" y="353"/>
                  </a:lnTo>
                  <a:lnTo>
                    <a:pt x="189" y="355"/>
                  </a:lnTo>
                  <a:lnTo>
                    <a:pt x="189" y="357"/>
                  </a:lnTo>
                  <a:lnTo>
                    <a:pt x="189" y="360"/>
                  </a:lnTo>
                  <a:lnTo>
                    <a:pt x="186" y="360"/>
                  </a:lnTo>
                  <a:lnTo>
                    <a:pt x="182" y="360"/>
                  </a:lnTo>
                  <a:lnTo>
                    <a:pt x="184" y="362"/>
                  </a:lnTo>
                  <a:lnTo>
                    <a:pt x="186" y="362"/>
                  </a:lnTo>
                  <a:lnTo>
                    <a:pt x="186" y="364"/>
                  </a:lnTo>
                  <a:lnTo>
                    <a:pt x="189" y="364"/>
                  </a:lnTo>
                  <a:lnTo>
                    <a:pt x="189" y="369"/>
                  </a:lnTo>
                  <a:lnTo>
                    <a:pt x="191" y="369"/>
                  </a:lnTo>
                  <a:lnTo>
                    <a:pt x="191" y="371"/>
                  </a:lnTo>
                  <a:lnTo>
                    <a:pt x="189" y="374"/>
                  </a:lnTo>
                  <a:lnTo>
                    <a:pt x="182" y="381"/>
                  </a:lnTo>
                  <a:lnTo>
                    <a:pt x="177" y="378"/>
                  </a:lnTo>
                  <a:lnTo>
                    <a:pt x="175" y="378"/>
                  </a:lnTo>
                  <a:lnTo>
                    <a:pt x="170" y="383"/>
                  </a:lnTo>
                  <a:lnTo>
                    <a:pt x="168" y="388"/>
                  </a:lnTo>
                  <a:lnTo>
                    <a:pt x="165" y="390"/>
                  </a:lnTo>
                  <a:lnTo>
                    <a:pt x="165" y="388"/>
                  </a:lnTo>
                  <a:lnTo>
                    <a:pt x="163" y="388"/>
                  </a:lnTo>
                  <a:lnTo>
                    <a:pt x="161" y="381"/>
                  </a:lnTo>
                  <a:lnTo>
                    <a:pt x="161" y="378"/>
                  </a:lnTo>
                  <a:lnTo>
                    <a:pt x="161" y="376"/>
                  </a:lnTo>
                  <a:lnTo>
                    <a:pt x="161" y="374"/>
                  </a:lnTo>
                  <a:lnTo>
                    <a:pt x="161" y="371"/>
                  </a:lnTo>
                  <a:lnTo>
                    <a:pt x="161" y="369"/>
                  </a:lnTo>
                  <a:lnTo>
                    <a:pt x="158" y="362"/>
                  </a:lnTo>
                  <a:lnTo>
                    <a:pt x="156" y="360"/>
                  </a:lnTo>
                  <a:lnTo>
                    <a:pt x="154" y="355"/>
                  </a:lnTo>
                  <a:lnTo>
                    <a:pt x="144" y="350"/>
                  </a:lnTo>
                  <a:lnTo>
                    <a:pt x="140" y="348"/>
                  </a:lnTo>
                  <a:lnTo>
                    <a:pt x="135" y="343"/>
                  </a:lnTo>
                  <a:lnTo>
                    <a:pt x="133" y="343"/>
                  </a:lnTo>
                  <a:lnTo>
                    <a:pt x="130" y="341"/>
                  </a:lnTo>
                  <a:lnTo>
                    <a:pt x="126" y="343"/>
                  </a:lnTo>
                  <a:lnTo>
                    <a:pt x="123" y="343"/>
                  </a:lnTo>
                  <a:lnTo>
                    <a:pt x="123" y="348"/>
                  </a:lnTo>
                  <a:lnTo>
                    <a:pt x="123" y="350"/>
                  </a:lnTo>
                  <a:lnTo>
                    <a:pt x="121" y="355"/>
                  </a:lnTo>
                  <a:lnTo>
                    <a:pt x="116" y="355"/>
                  </a:lnTo>
                  <a:lnTo>
                    <a:pt x="114" y="355"/>
                  </a:lnTo>
                  <a:lnTo>
                    <a:pt x="109" y="357"/>
                  </a:lnTo>
                  <a:lnTo>
                    <a:pt x="102" y="355"/>
                  </a:lnTo>
                  <a:lnTo>
                    <a:pt x="98" y="353"/>
                  </a:lnTo>
                  <a:lnTo>
                    <a:pt x="98" y="346"/>
                  </a:lnTo>
                  <a:lnTo>
                    <a:pt x="100" y="346"/>
                  </a:lnTo>
                  <a:lnTo>
                    <a:pt x="100" y="343"/>
                  </a:lnTo>
                  <a:lnTo>
                    <a:pt x="100" y="341"/>
                  </a:lnTo>
                  <a:lnTo>
                    <a:pt x="100" y="336"/>
                  </a:lnTo>
                  <a:lnTo>
                    <a:pt x="100" y="334"/>
                  </a:lnTo>
                  <a:lnTo>
                    <a:pt x="102" y="334"/>
                  </a:lnTo>
                  <a:lnTo>
                    <a:pt x="105" y="329"/>
                  </a:lnTo>
                  <a:lnTo>
                    <a:pt x="107" y="329"/>
                  </a:lnTo>
                  <a:lnTo>
                    <a:pt x="112" y="327"/>
                  </a:lnTo>
                  <a:lnTo>
                    <a:pt x="121" y="325"/>
                  </a:lnTo>
                  <a:lnTo>
                    <a:pt x="126" y="325"/>
                  </a:lnTo>
                  <a:lnTo>
                    <a:pt x="133" y="323"/>
                  </a:lnTo>
                  <a:lnTo>
                    <a:pt x="135" y="323"/>
                  </a:lnTo>
                  <a:lnTo>
                    <a:pt x="140" y="327"/>
                  </a:lnTo>
                  <a:lnTo>
                    <a:pt x="142" y="329"/>
                  </a:lnTo>
                  <a:lnTo>
                    <a:pt x="144" y="329"/>
                  </a:lnTo>
                  <a:lnTo>
                    <a:pt x="149" y="325"/>
                  </a:lnTo>
                  <a:lnTo>
                    <a:pt x="149" y="323"/>
                  </a:lnTo>
                  <a:lnTo>
                    <a:pt x="151" y="323"/>
                  </a:lnTo>
                  <a:lnTo>
                    <a:pt x="151" y="320"/>
                  </a:lnTo>
                  <a:lnTo>
                    <a:pt x="156" y="323"/>
                  </a:lnTo>
                  <a:lnTo>
                    <a:pt x="163" y="320"/>
                  </a:lnTo>
                  <a:lnTo>
                    <a:pt x="182" y="306"/>
                  </a:lnTo>
                  <a:lnTo>
                    <a:pt x="189" y="304"/>
                  </a:lnTo>
                  <a:lnTo>
                    <a:pt x="191" y="304"/>
                  </a:lnTo>
                  <a:lnTo>
                    <a:pt x="191" y="302"/>
                  </a:lnTo>
                  <a:lnTo>
                    <a:pt x="191" y="299"/>
                  </a:lnTo>
                  <a:lnTo>
                    <a:pt x="191" y="297"/>
                  </a:lnTo>
                  <a:lnTo>
                    <a:pt x="191" y="292"/>
                  </a:lnTo>
                  <a:lnTo>
                    <a:pt x="193" y="292"/>
                  </a:lnTo>
                  <a:lnTo>
                    <a:pt x="196" y="292"/>
                  </a:lnTo>
                  <a:lnTo>
                    <a:pt x="198" y="292"/>
                  </a:lnTo>
                  <a:lnTo>
                    <a:pt x="207" y="290"/>
                  </a:lnTo>
                  <a:lnTo>
                    <a:pt x="210" y="288"/>
                  </a:lnTo>
                  <a:lnTo>
                    <a:pt x="210" y="285"/>
                  </a:lnTo>
                  <a:lnTo>
                    <a:pt x="214" y="276"/>
                  </a:lnTo>
                  <a:lnTo>
                    <a:pt x="214" y="271"/>
                  </a:lnTo>
                  <a:lnTo>
                    <a:pt x="216" y="269"/>
                  </a:lnTo>
                  <a:lnTo>
                    <a:pt x="219" y="267"/>
                  </a:lnTo>
                  <a:lnTo>
                    <a:pt x="221" y="264"/>
                  </a:lnTo>
                  <a:lnTo>
                    <a:pt x="223" y="264"/>
                  </a:lnTo>
                  <a:lnTo>
                    <a:pt x="226" y="264"/>
                  </a:lnTo>
                  <a:lnTo>
                    <a:pt x="228" y="262"/>
                  </a:lnTo>
                  <a:lnTo>
                    <a:pt x="228" y="264"/>
                  </a:lnTo>
                  <a:lnTo>
                    <a:pt x="230" y="267"/>
                  </a:lnTo>
                  <a:lnTo>
                    <a:pt x="228" y="269"/>
                  </a:lnTo>
                  <a:lnTo>
                    <a:pt x="228" y="271"/>
                  </a:lnTo>
                  <a:lnTo>
                    <a:pt x="230" y="271"/>
                  </a:lnTo>
                  <a:lnTo>
                    <a:pt x="233" y="274"/>
                  </a:lnTo>
                  <a:lnTo>
                    <a:pt x="240" y="274"/>
                  </a:lnTo>
                  <a:lnTo>
                    <a:pt x="242" y="276"/>
                  </a:lnTo>
                  <a:lnTo>
                    <a:pt x="240" y="274"/>
                  </a:lnTo>
                  <a:lnTo>
                    <a:pt x="237" y="271"/>
                  </a:lnTo>
                  <a:lnTo>
                    <a:pt x="233" y="269"/>
                  </a:lnTo>
                  <a:lnTo>
                    <a:pt x="233" y="264"/>
                  </a:lnTo>
                  <a:lnTo>
                    <a:pt x="233" y="262"/>
                  </a:lnTo>
                  <a:lnTo>
                    <a:pt x="233" y="257"/>
                  </a:lnTo>
                  <a:lnTo>
                    <a:pt x="237" y="257"/>
                  </a:lnTo>
                  <a:lnTo>
                    <a:pt x="247" y="260"/>
                  </a:lnTo>
                  <a:lnTo>
                    <a:pt x="251" y="260"/>
                  </a:lnTo>
                  <a:lnTo>
                    <a:pt x="256" y="257"/>
                  </a:lnTo>
                  <a:lnTo>
                    <a:pt x="258" y="253"/>
                  </a:lnTo>
                  <a:lnTo>
                    <a:pt x="261" y="250"/>
                  </a:lnTo>
                  <a:lnTo>
                    <a:pt x="261" y="246"/>
                  </a:lnTo>
                  <a:lnTo>
                    <a:pt x="261" y="243"/>
                  </a:lnTo>
                  <a:lnTo>
                    <a:pt x="263" y="243"/>
                  </a:lnTo>
                  <a:lnTo>
                    <a:pt x="265" y="243"/>
                  </a:lnTo>
                  <a:lnTo>
                    <a:pt x="277" y="237"/>
                  </a:lnTo>
                  <a:lnTo>
                    <a:pt x="279" y="234"/>
                  </a:lnTo>
                  <a:lnTo>
                    <a:pt x="282" y="232"/>
                  </a:lnTo>
                  <a:lnTo>
                    <a:pt x="284" y="230"/>
                  </a:lnTo>
                  <a:lnTo>
                    <a:pt x="291" y="225"/>
                  </a:lnTo>
                  <a:lnTo>
                    <a:pt x="296" y="218"/>
                  </a:lnTo>
                  <a:lnTo>
                    <a:pt x="300" y="199"/>
                  </a:lnTo>
                  <a:lnTo>
                    <a:pt x="300" y="195"/>
                  </a:lnTo>
                  <a:lnTo>
                    <a:pt x="303" y="190"/>
                  </a:lnTo>
                  <a:lnTo>
                    <a:pt x="305" y="188"/>
                  </a:lnTo>
                  <a:lnTo>
                    <a:pt x="307" y="183"/>
                  </a:lnTo>
                  <a:lnTo>
                    <a:pt x="307" y="181"/>
                  </a:lnTo>
                  <a:lnTo>
                    <a:pt x="307" y="178"/>
                  </a:lnTo>
                  <a:lnTo>
                    <a:pt x="307" y="176"/>
                  </a:lnTo>
                  <a:lnTo>
                    <a:pt x="310" y="174"/>
                  </a:lnTo>
                  <a:lnTo>
                    <a:pt x="321" y="176"/>
                  </a:lnTo>
                  <a:lnTo>
                    <a:pt x="324" y="176"/>
                  </a:lnTo>
                  <a:lnTo>
                    <a:pt x="326" y="181"/>
                  </a:lnTo>
                  <a:lnTo>
                    <a:pt x="335" y="183"/>
                  </a:lnTo>
                  <a:lnTo>
                    <a:pt x="338" y="183"/>
                  </a:lnTo>
                  <a:lnTo>
                    <a:pt x="340" y="181"/>
                  </a:lnTo>
                  <a:lnTo>
                    <a:pt x="351" y="174"/>
                  </a:lnTo>
                  <a:lnTo>
                    <a:pt x="351" y="171"/>
                  </a:lnTo>
                  <a:lnTo>
                    <a:pt x="354" y="171"/>
                  </a:lnTo>
                  <a:lnTo>
                    <a:pt x="354" y="169"/>
                  </a:lnTo>
                  <a:lnTo>
                    <a:pt x="356" y="169"/>
                  </a:lnTo>
                  <a:lnTo>
                    <a:pt x="356" y="167"/>
                  </a:lnTo>
                  <a:lnTo>
                    <a:pt x="354" y="160"/>
                  </a:lnTo>
                  <a:lnTo>
                    <a:pt x="354" y="158"/>
                  </a:lnTo>
                  <a:lnTo>
                    <a:pt x="354" y="153"/>
                  </a:lnTo>
                  <a:lnTo>
                    <a:pt x="351" y="151"/>
                  </a:lnTo>
                  <a:lnTo>
                    <a:pt x="356" y="153"/>
                  </a:lnTo>
                  <a:lnTo>
                    <a:pt x="358" y="153"/>
                  </a:lnTo>
                  <a:lnTo>
                    <a:pt x="358" y="151"/>
                  </a:lnTo>
                  <a:lnTo>
                    <a:pt x="361" y="148"/>
                  </a:lnTo>
                  <a:lnTo>
                    <a:pt x="358" y="146"/>
                  </a:lnTo>
                  <a:lnTo>
                    <a:pt x="358" y="144"/>
                  </a:lnTo>
                  <a:lnTo>
                    <a:pt x="370" y="141"/>
                  </a:lnTo>
                  <a:lnTo>
                    <a:pt x="396" y="144"/>
                  </a:lnTo>
                  <a:lnTo>
                    <a:pt x="400" y="141"/>
                  </a:lnTo>
                  <a:lnTo>
                    <a:pt x="405" y="141"/>
                  </a:lnTo>
                  <a:lnTo>
                    <a:pt x="414" y="144"/>
                  </a:lnTo>
                  <a:lnTo>
                    <a:pt x="417" y="144"/>
                  </a:lnTo>
                  <a:lnTo>
                    <a:pt x="421" y="141"/>
                  </a:lnTo>
                  <a:lnTo>
                    <a:pt x="424" y="144"/>
                  </a:lnTo>
                  <a:lnTo>
                    <a:pt x="433" y="146"/>
                  </a:lnTo>
                  <a:lnTo>
                    <a:pt x="442" y="151"/>
                  </a:lnTo>
                  <a:lnTo>
                    <a:pt x="454" y="153"/>
                  </a:lnTo>
                  <a:lnTo>
                    <a:pt x="470" y="160"/>
                  </a:lnTo>
                  <a:lnTo>
                    <a:pt x="472" y="164"/>
                  </a:lnTo>
                  <a:lnTo>
                    <a:pt x="477" y="167"/>
                  </a:lnTo>
                  <a:lnTo>
                    <a:pt x="491" y="169"/>
                  </a:lnTo>
                  <a:lnTo>
                    <a:pt x="503" y="167"/>
                  </a:lnTo>
                  <a:lnTo>
                    <a:pt x="507" y="167"/>
                  </a:lnTo>
                  <a:lnTo>
                    <a:pt x="517" y="169"/>
                  </a:lnTo>
                  <a:lnTo>
                    <a:pt x="524" y="169"/>
                  </a:lnTo>
                  <a:lnTo>
                    <a:pt x="528" y="167"/>
                  </a:lnTo>
                  <a:lnTo>
                    <a:pt x="528" y="169"/>
                  </a:lnTo>
                  <a:lnTo>
                    <a:pt x="526" y="171"/>
                  </a:lnTo>
                  <a:lnTo>
                    <a:pt x="528" y="174"/>
                  </a:lnTo>
                  <a:lnTo>
                    <a:pt x="531" y="169"/>
                  </a:lnTo>
                  <a:lnTo>
                    <a:pt x="533" y="164"/>
                  </a:lnTo>
                  <a:lnTo>
                    <a:pt x="531" y="162"/>
                  </a:lnTo>
                  <a:lnTo>
                    <a:pt x="531" y="160"/>
                  </a:lnTo>
                  <a:lnTo>
                    <a:pt x="533" y="153"/>
                  </a:lnTo>
                  <a:lnTo>
                    <a:pt x="533" y="148"/>
                  </a:lnTo>
                  <a:lnTo>
                    <a:pt x="533" y="146"/>
                  </a:lnTo>
                  <a:lnTo>
                    <a:pt x="535" y="146"/>
                  </a:lnTo>
                  <a:lnTo>
                    <a:pt x="538" y="146"/>
                  </a:lnTo>
                  <a:lnTo>
                    <a:pt x="538" y="144"/>
                  </a:lnTo>
                  <a:lnTo>
                    <a:pt x="538" y="141"/>
                  </a:lnTo>
                  <a:lnTo>
                    <a:pt x="540" y="139"/>
                  </a:lnTo>
                  <a:lnTo>
                    <a:pt x="542" y="137"/>
                  </a:lnTo>
                  <a:lnTo>
                    <a:pt x="542" y="134"/>
                  </a:lnTo>
                  <a:lnTo>
                    <a:pt x="542" y="132"/>
                  </a:lnTo>
                  <a:lnTo>
                    <a:pt x="545" y="130"/>
                  </a:lnTo>
                  <a:lnTo>
                    <a:pt x="549" y="132"/>
                  </a:lnTo>
                  <a:lnTo>
                    <a:pt x="556" y="127"/>
                  </a:lnTo>
                  <a:lnTo>
                    <a:pt x="568" y="116"/>
                  </a:lnTo>
                  <a:lnTo>
                    <a:pt x="570" y="116"/>
                  </a:lnTo>
                  <a:lnTo>
                    <a:pt x="573" y="113"/>
                  </a:lnTo>
                  <a:lnTo>
                    <a:pt x="575" y="113"/>
                  </a:lnTo>
                  <a:lnTo>
                    <a:pt x="580" y="113"/>
                  </a:lnTo>
                  <a:lnTo>
                    <a:pt x="582" y="113"/>
                  </a:lnTo>
                  <a:lnTo>
                    <a:pt x="587" y="111"/>
                  </a:lnTo>
                  <a:lnTo>
                    <a:pt x="589" y="106"/>
                  </a:lnTo>
                  <a:lnTo>
                    <a:pt x="600" y="92"/>
                  </a:lnTo>
                  <a:lnTo>
                    <a:pt x="603" y="90"/>
                  </a:lnTo>
                  <a:lnTo>
                    <a:pt x="605" y="90"/>
                  </a:lnTo>
                  <a:lnTo>
                    <a:pt x="607" y="88"/>
                  </a:lnTo>
                  <a:lnTo>
                    <a:pt x="607" y="85"/>
                  </a:lnTo>
                  <a:lnTo>
                    <a:pt x="607" y="83"/>
                  </a:lnTo>
                  <a:lnTo>
                    <a:pt x="610" y="83"/>
                  </a:lnTo>
                  <a:lnTo>
                    <a:pt x="610" y="81"/>
                  </a:lnTo>
                  <a:lnTo>
                    <a:pt x="614" y="79"/>
                  </a:lnTo>
                  <a:lnTo>
                    <a:pt x="619" y="74"/>
                  </a:lnTo>
                  <a:lnTo>
                    <a:pt x="626" y="69"/>
                  </a:lnTo>
                  <a:lnTo>
                    <a:pt x="628" y="67"/>
                  </a:lnTo>
                  <a:lnTo>
                    <a:pt x="635" y="67"/>
                  </a:lnTo>
                  <a:lnTo>
                    <a:pt x="638" y="65"/>
                  </a:lnTo>
                  <a:lnTo>
                    <a:pt x="640" y="62"/>
                  </a:lnTo>
                  <a:lnTo>
                    <a:pt x="640" y="60"/>
                  </a:lnTo>
                  <a:lnTo>
                    <a:pt x="638" y="58"/>
                  </a:lnTo>
                  <a:lnTo>
                    <a:pt x="635" y="62"/>
                  </a:lnTo>
                  <a:lnTo>
                    <a:pt x="633" y="62"/>
                  </a:lnTo>
                  <a:lnTo>
                    <a:pt x="631" y="65"/>
                  </a:lnTo>
                  <a:lnTo>
                    <a:pt x="626" y="65"/>
                  </a:lnTo>
                  <a:lnTo>
                    <a:pt x="624" y="65"/>
                  </a:lnTo>
                  <a:lnTo>
                    <a:pt x="621" y="67"/>
                  </a:lnTo>
                  <a:lnTo>
                    <a:pt x="619" y="69"/>
                  </a:lnTo>
                  <a:lnTo>
                    <a:pt x="617" y="72"/>
                  </a:lnTo>
                  <a:lnTo>
                    <a:pt x="607" y="76"/>
                  </a:lnTo>
                  <a:lnTo>
                    <a:pt x="605" y="79"/>
                  </a:lnTo>
                  <a:lnTo>
                    <a:pt x="594" y="88"/>
                  </a:lnTo>
                  <a:lnTo>
                    <a:pt x="594" y="83"/>
                  </a:lnTo>
                  <a:lnTo>
                    <a:pt x="594" y="81"/>
                  </a:lnTo>
                  <a:lnTo>
                    <a:pt x="594" y="79"/>
                  </a:lnTo>
                  <a:lnTo>
                    <a:pt x="594" y="76"/>
                  </a:lnTo>
                  <a:lnTo>
                    <a:pt x="596" y="76"/>
                  </a:lnTo>
                  <a:lnTo>
                    <a:pt x="596" y="74"/>
                  </a:lnTo>
                  <a:lnTo>
                    <a:pt x="596" y="72"/>
                  </a:lnTo>
                  <a:lnTo>
                    <a:pt x="596" y="69"/>
                  </a:lnTo>
                  <a:lnTo>
                    <a:pt x="596" y="65"/>
                  </a:lnTo>
                  <a:lnTo>
                    <a:pt x="596" y="62"/>
                  </a:lnTo>
                  <a:lnTo>
                    <a:pt x="598" y="60"/>
                  </a:lnTo>
                  <a:lnTo>
                    <a:pt x="598" y="58"/>
                  </a:lnTo>
                  <a:lnTo>
                    <a:pt x="598" y="55"/>
                  </a:lnTo>
                  <a:lnTo>
                    <a:pt x="598" y="53"/>
                  </a:lnTo>
                  <a:lnTo>
                    <a:pt x="598" y="51"/>
                  </a:lnTo>
                  <a:lnTo>
                    <a:pt x="603" y="46"/>
                  </a:lnTo>
                  <a:lnTo>
                    <a:pt x="605" y="41"/>
                  </a:lnTo>
                  <a:lnTo>
                    <a:pt x="605" y="44"/>
                  </a:lnTo>
                  <a:lnTo>
                    <a:pt x="605" y="41"/>
                  </a:lnTo>
                  <a:lnTo>
                    <a:pt x="605" y="37"/>
                  </a:lnTo>
                  <a:lnTo>
                    <a:pt x="607" y="37"/>
                  </a:lnTo>
                  <a:lnTo>
                    <a:pt x="610" y="39"/>
                  </a:lnTo>
                  <a:lnTo>
                    <a:pt x="612" y="39"/>
                  </a:lnTo>
                  <a:lnTo>
                    <a:pt x="614" y="39"/>
                  </a:lnTo>
                  <a:lnTo>
                    <a:pt x="614" y="37"/>
                  </a:lnTo>
                  <a:lnTo>
                    <a:pt x="619" y="37"/>
                  </a:lnTo>
                  <a:lnTo>
                    <a:pt x="624" y="37"/>
                  </a:lnTo>
                  <a:lnTo>
                    <a:pt x="626" y="32"/>
                  </a:lnTo>
                  <a:lnTo>
                    <a:pt x="631" y="32"/>
                  </a:lnTo>
                  <a:lnTo>
                    <a:pt x="638" y="30"/>
                  </a:lnTo>
                  <a:lnTo>
                    <a:pt x="638" y="27"/>
                  </a:lnTo>
                  <a:lnTo>
                    <a:pt x="635" y="23"/>
                  </a:lnTo>
                  <a:lnTo>
                    <a:pt x="635" y="18"/>
                  </a:lnTo>
                  <a:lnTo>
                    <a:pt x="633" y="16"/>
                  </a:lnTo>
                  <a:lnTo>
                    <a:pt x="633" y="11"/>
                  </a:lnTo>
                  <a:lnTo>
                    <a:pt x="635" y="9"/>
                  </a:lnTo>
                  <a:lnTo>
                    <a:pt x="635" y="6"/>
                  </a:lnTo>
                  <a:lnTo>
                    <a:pt x="638" y="2"/>
                  </a:lnTo>
                  <a:lnTo>
                    <a:pt x="640" y="4"/>
                  </a:lnTo>
                  <a:lnTo>
                    <a:pt x="640" y="9"/>
                  </a:lnTo>
                  <a:lnTo>
                    <a:pt x="642" y="11"/>
                  </a:lnTo>
                  <a:lnTo>
                    <a:pt x="647" y="9"/>
                  </a:lnTo>
                  <a:lnTo>
                    <a:pt x="649" y="6"/>
                  </a:lnTo>
                  <a:lnTo>
                    <a:pt x="652" y="6"/>
                  </a:lnTo>
                  <a:lnTo>
                    <a:pt x="654" y="6"/>
                  </a:lnTo>
                  <a:lnTo>
                    <a:pt x="656" y="11"/>
                  </a:lnTo>
                  <a:lnTo>
                    <a:pt x="656" y="16"/>
                  </a:lnTo>
                  <a:lnTo>
                    <a:pt x="666" y="20"/>
                  </a:lnTo>
                  <a:lnTo>
                    <a:pt x="668" y="20"/>
                  </a:lnTo>
                  <a:lnTo>
                    <a:pt x="673" y="16"/>
                  </a:lnTo>
                  <a:lnTo>
                    <a:pt x="675" y="16"/>
                  </a:lnTo>
                  <a:lnTo>
                    <a:pt x="677" y="16"/>
                  </a:lnTo>
                  <a:lnTo>
                    <a:pt x="677" y="11"/>
                  </a:lnTo>
                  <a:lnTo>
                    <a:pt x="677" y="6"/>
                  </a:lnTo>
                  <a:lnTo>
                    <a:pt x="680" y="4"/>
                  </a:lnTo>
                  <a:lnTo>
                    <a:pt x="687" y="6"/>
                  </a:lnTo>
                  <a:lnTo>
                    <a:pt x="682" y="13"/>
                  </a:lnTo>
                  <a:lnTo>
                    <a:pt x="682" y="16"/>
                  </a:lnTo>
                  <a:lnTo>
                    <a:pt x="687" y="13"/>
                  </a:lnTo>
                  <a:lnTo>
                    <a:pt x="691" y="13"/>
                  </a:lnTo>
                  <a:lnTo>
                    <a:pt x="696" y="18"/>
                  </a:lnTo>
                  <a:lnTo>
                    <a:pt x="705" y="13"/>
                  </a:lnTo>
                  <a:lnTo>
                    <a:pt x="710" y="11"/>
                  </a:lnTo>
                  <a:lnTo>
                    <a:pt x="712" y="13"/>
                  </a:lnTo>
                  <a:lnTo>
                    <a:pt x="715" y="13"/>
                  </a:lnTo>
                  <a:lnTo>
                    <a:pt x="719" y="13"/>
                  </a:lnTo>
                  <a:lnTo>
                    <a:pt x="724" y="20"/>
                  </a:lnTo>
                  <a:lnTo>
                    <a:pt x="726" y="18"/>
                  </a:lnTo>
                  <a:lnTo>
                    <a:pt x="726" y="13"/>
                  </a:lnTo>
                  <a:lnTo>
                    <a:pt x="724" y="9"/>
                  </a:lnTo>
                  <a:lnTo>
                    <a:pt x="722" y="9"/>
                  </a:lnTo>
                  <a:lnTo>
                    <a:pt x="722" y="6"/>
                  </a:lnTo>
                  <a:lnTo>
                    <a:pt x="726" y="4"/>
                  </a:lnTo>
                  <a:lnTo>
                    <a:pt x="728" y="6"/>
                  </a:lnTo>
                  <a:lnTo>
                    <a:pt x="735" y="0"/>
                  </a:lnTo>
                  <a:lnTo>
                    <a:pt x="738" y="0"/>
                  </a:lnTo>
                  <a:lnTo>
                    <a:pt x="740" y="4"/>
                  </a:lnTo>
                  <a:lnTo>
                    <a:pt x="742" y="4"/>
                  </a:lnTo>
                  <a:close/>
                </a:path>
              </a:pathLst>
            </a:custGeom>
            <a:solidFill>
              <a:srgbClr val="104F75"/>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6" name="Freeform 15">
              <a:extLst>
                <a:ext uri="{FF2B5EF4-FFF2-40B4-BE49-F238E27FC236}">
                  <a16:creationId xmlns:a16="http://schemas.microsoft.com/office/drawing/2014/main" id="{5C031F29-15F5-2589-8D35-681E2F5C61E5}"/>
                </a:ext>
              </a:extLst>
            </p:cNvPr>
            <p:cNvSpPr>
              <a:spLocks/>
            </p:cNvSpPr>
            <p:nvPr/>
          </p:nvSpPr>
          <p:spPr bwMode="auto">
            <a:xfrm>
              <a:off x="8566023" y="4089045"/>
              <a:ext cx="444500" cy="473075"/>
            </a:xfrm>
            <a:custGeom>
              <a:avLst/>
              <a:gdLst>
                <a:gd name="T0" fmla="*/ 221 w 280"/>
                <a:gd name="T1" fmla="*/ 44 h 298"/>
                <a:gd name="T2" fmla="*/ 210 w 280"/>
                <a:gd name="T3" fmla="*/ 68 h 298"/>
                <a:gd name="T4" fmla="*/ 219 w 280"/>
                <a:gd name="T5" fmla="*/ 86 h 298"/>
                <a:gd name="T6" fmla="*/ 219 w 280"/>
                <a:gd name="T7" fmla="*/ 116 h 298"/>
                <a:gd name="T8" fmla="*/ 233 w 280"/>
                <a:gd name="T9" fmla="*/ 130 h 298"/>
                <a:gd name="T10" fmla="*/ 252 w 280"/>
                <a:gd name="T11" fmla="*/ 165 h 298"/>
                <a:gd name="T12" fmla="*/ 280 w 280"/>
                <a:gd name="T13" fmla="*/ 212 h 298"/>
                <a:gd name="T14" fmla="*/ 270 w 280"/>
                <a:gd name="T15" fmla="*/ 228 h 298"/>
                <a:gd name="T16" fmla="*/ 252 w 280"/>
                <a:gd name="T17" fmla="*/ 251 h 298"/>
                <a:gd name="T18" fmla="*/ 235 w 280"/>
                <a:gd name="T19" fmla="*/ 260 h 298"/>
                <a:gd name="T20" fmla="*/ 219 w 280"/>
                <a:gd name="T21" fmla="*/ 284 h 298"/>
                <a:gd name="T22" fmla="*/ 200 w 280"/>
                <a:gd name="T23" fmla="*/ 281 h 298"/>
                <a:gd name="T24" fmla="*/ 191 w 280"/>
                <a:gd name="T25" fmla="*/ 258 h 298"/>
                <a:gd name="T26" fmla="*/ 177 w 280"/>
                <a:gd name="T27" fmla="*/ 267 h 298"/>
                <a:gd name="T28" fmla="*/ 156 w 280"/>
                <a:gd name="T29" fmla="*/ 267 h 298"/>
                <a:gd name="T30" fmla="*/ 128 w 280"/>
                <a:gd name="T31" fmla="*/ 260 h 298"/>
                <a:gd name="T32" fmla="*/ 107 w 280"/>
                <a:gd name="T33" fmla="*/ 265 h 298"/>
                <a:gd name="T34" fmla="*/ 89 w 280"/>
                <a:gd name="T35" fmla="*/ 256 h 298"/>
                <a:gd name="T36" fmla="*/ 89 w 280"/>
                <a:gd name="T37" fmla="*/ 284 h 298"/>
                <a:gd name="T38" fmla="*/ 63 w 280"/>
                <a:gd name="T39" fmla="*/ 293 h 298"/>
                <a:gd name="T40" fmla="*/ 54 w 280"/>
                <a:gd name="T41" fmla="*/ 298 h 298"/>
                <a:gd name="T42" fmla="*/ 42 w 280"/>
                <a:gd name="T43" fmla="*/ 288 h 298"/>
                <a:gd name="T44" fmla="*/ 26 w 280"/>
                <a:gd name="T45" fmla="*/ 267 h 298"/>
                <a:gd name="T46" fmla="*/ 12 w 280"/>
                <a:gd name="T47" fmla="*/ 263 h 298"/>
                <a:gd name="T48" fmla="*/ 3 w 280"/>
                <a:gd name="T49" fmla="*/ 242 h 298"/>
                <a:gd name="T50" fmla="*/ 0 w 280"/>
                <a:gd name="T51" fmla="*/ 230 h 298"/>
                <a:gd name="T52" fmla="*/ 5 w 280"/>
                <a:gd name="T53" fmla="*/ 221 h 298"/>
                <a:gd name="T54" fmla="*/ 7 w 280"/>
                <a:gd name="T55" fmla="*/ 214 h 298"/>
                <a:gd name="T56" fmla="*/ 5 w 280"/>
                <a:gd name="T57" fmla="*/ 212 h 298"/>
                <a:gd name="T58" fmla="*/ 17 w 280"/>
                <a:gd name="T59" fmla="*/ 195 h 298"/>
                <a:gd name="T60" fmla="*/ 24 w 280"/>
                <a:gd name="T61" fmla="*/ 191 h 298"/>
                <a:gd name="T62" fmla="*/ 26 w 280"/>
                <a:gd name="T63" fmla="*/ 186 h 298"/>
                <a:gd name="T64" fmla="*/ 33 w 280"/>
                <a:gd name="T65" fmla="*/ 177 h 298"/>
                <a:gd name="T66" fmla="*/ 7 w 280"/>
                <a:gd name="T67" fmla="*/ 156 h 298"/>
                <a:gd name="T68" fmla="*/ 3 w 280"/>
                <a:gd name="T69" fmla="*/ 144 h 298"/>
                <a:gd name="T70" fmla="*/ 19 w 280"/>
                <a:gd name="T71" fmla="*/ 135 h 298"/>
                <a:gd name="T72" fmla="*/ 38 w 280"/>
                <a:gd name="T73" fmla="*/ 126 h 298"/>
                <a:gd name="T74" fmla="*/ 26 w 280"/>
                <a:gd name="T75" fmla="*/ 126 h 298"/>
                <a:gd name="T76" fmla="*/ 19 w 280"/>
                <a:gd name="T77" fmla="*/ 128 h 298"/>
                <a:gd name="T78" fmla="*/ 19 w 280"/>
                <a:gd name="T79" fmla="*/ 119 h 298"/>
                <a:gd name="T80" fmla="*/ 28 w 280"/>
                <a:gd name="T81" fmla="*/ 112 h 298"/>
                <a:gd name="T82" fmla="*/ 35 w 280"/>
                <a:gd name="T83" fmla="*/ 102 h 298"/>
                <a:gd name="T84" fmla="*/ 40 w 280"/>
                <a:gd name="T85" fmla="*/ 89 h 298"/>
                <a:gd name="T86" fmla="*/ 49 w 280"/>
                <a:gd name="T87" fmla="*/ 86 h 298"/>
                <a:gd name="T88" fmla="*/ 40 w 280"/>
                <a:gd name="T89" fmla="*/ 77 h 298"/>
                <a:gd name="T90" fmla="*/ 28 w 280"/>
                <a:gd name="T91" fmla="*/ 68 h 298"/>
                <a:gd name="T92" fmla="*/ 28 w 280"/>
                <a:gd name="T93" fmla="*/ 56 h 298"/>
                <a:gd name="T94" fmla="*/ 31 w 280"/>
                <a:gd name="T95" fmla="*/ 47 h 298"/>
                <a:gd name="T96" fmla="*/ 42 w 280"/>
                <a:gd name="T97" fmla="*/ 40 h 298"/>
                <a:gd name="T98" fmla="*/ 56 w 280"/>
                <a:gd name="T99" fmla="*/ 37 h 298"/>
                <a:gd name="T100" fmla="*/ 70 w 280"/>
                <a:gd name="T101" fmla="*/ 42 h 298"/>
                <a:gd name="T102" fmla="*/ 86 w 280"/>
                <a:gd name="T103" fmla="*/ 49 h 298"/>
                <a:gd name="T104" fmla="*/ 89 w 280"/>
                <a:gd name="T105" fmla="*/ 40 h 298"/>
                <a:gd name="T106" fmla="*/ 121 w 280"/>
                <a:gd name="T107" fmla="*/ 47 h 298"/>
                <a:gd name="T108" fmla="*/ 145 w 280"/>
                <a:gd name="T109" fmla="*/ 28 h 298"/>
                <a:gd name="T110" fmla="*/ 177 w 280"/>
                <a:gd name="T111" fmla="*/ 10 h 298"/>
                <a:gd name="T112" fmla="*/ 198 w 280"/>
                <a:gd name="T113" fmla="*/ 3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 h="298">
                  <a:moveTo>
                    <a:pt x="214" y="12"/>
                  </a:moveTo>
                  <a:lnTo>
                    <a:pt x="219" y="14"/>
                  </a:lnTo>
                  <a:lnTo>
                    <a:pt x="221" y="19"/>
                  </a:lnTo>
                  <a:lnTo>
                    <a:pt x="221" y="21"/>
                  </a:lnTo>
                  <a:lnTo>
                    <a:pt x="219" y="26"/>
                  </a:lnTo>
                  <a:lnTo>
                    <a:pt x="224" y="33"/>
                  </a:lnTo>
                  <a:lnTo>
                    <a:pt x="221" y="37"/>
                  </a:lnTo>
                  <a:lnTo>
                    <a:pt x="221" y="44"/>
                  </a:lnTo>
                  <a:lnTo>
                    <a:pt x="221" y="47"/>
                  </a:lnTo>
                  <a:lnTo>
                    <a:pt x="224" y="49"/>
                  </a:lnTo>
                  <a:lnTo>
                    <a:pt x="224" y="54"/>
                  </a:lnTo>
                  <a:lnTo>
                    <a:pt x="221" y="56"/>
                  </a:lnTo>
                  <a:lnTo>
                    <a:pt x="212" y="61"/>
                  </a:lnTo>
                  <a:lnTo>
                    <a:pt x="212" y="63"/>
                  </a:lnTo>
                  <a:lnTo>
                    <a:pt x="210" y="68"/>
                  </a:lnTo>
                  <a:lnTo>
                    <a:pt x="210" y="68"/>
                  </a:lnTo>
                  <a:lnTo>
                    <a:pt x="207" y="68"/>
                  </a:lnTo>
                  <a:lnTo>
                    <a:pt x="207" y="72"/>
                  </a:lnTo>
                  <a:lnTo>
                    <a:pt x="207" y="77"/>
                  </a:lnTo>
                  <a:lnTo>
                    <a:pt x="207" y="79"/>
                  </a:lnTo>
                  <a:lnTo>
                    <a:pt x="212" y="82"/>
                  </a:lnTo>
                  <a:lnTo>
                    <a:pt x="212" y="82"/>
                  </a:lnTo>
                  <a:lnTo>
                    <a:pt x="217" y="84"/>
                  </a:lnTo>
                  <a:lnTo>
                    <a:pt x="219" y="86"/>
                  </a:lnTo>
                  <a:lnTo>
                    <a:pt x="221" y="89"/>
                  </a:lnTo>
                  <a:lnTo>
                    <a:pt x="233" y="91"/>
                  </a:lnTo>
                  <a:lnTo>
                    <a:pt x="235" y="93"/>
                  </a:lnTo>
                  <a:lnTo>
                    <a:pt x="238" y="100"/>
                  </a:lnTo>
                  <a:lnTo>
                    <a:pt x="233" y="102"/>
                  </a:lnTo>
                  <a:lnTo>
                    <a:pt x="231" y="107"/>
                  </a:lnTo>
                  <a:lnTo>
                    <a:pt x="224" y="109"/>
                  </a:lnTo>
                  <a:lnTo>
                    <a:pt x="219" y="116"/>
                  </a:lnTo>
                  <a:lnTo>
                    <a:pt x="221" y="119"/>
                  </a:lnTo>
                  <a:lnTo>
                    <a:pt x="226" y="121"/>
                  </a:lnTo>
                  <a:lnTo>
                    <a:pt x="226" y="126"/>
                  </a:lnTo>
                  <a:lnTo>
                    <a:pt x="228" y="128"/>
                  </a:lnTo>
                  <a:lnTo>
                    <a:pt x="231" y="126"/>
                  </a:lnTo>
                  <a:lnTo>
                    <a:pt x="231" y="128"/>
                  </a:lnTo>
                  <a:lnTo>
                    <a:pt x="233" y="128"/>
                  </a:lnTo>
                  <a:lnTo>
                    <a:pt x="233" y="130"/>
                  </a:lnTo>
                  <a:lnTo>
                    <a:pt x="240" y="137"/>
                  </a:lnTo>
                  <a:lnTo>
                    <a:pt x="238" y="140"/>
                  </a:lnTo>
                  <a:lnTo>
                    <a:pt x="235" y="142"/>
                  </a:lnTo>
                  <a:lnTo>
                    <a:pt x="235" y="147"/>
                  </a:lnTo>
                  <a:lnTo>
                    <a:pt x="235" y="151"/>
                  </a:lnTo>
                  <a:lnTo>
                    <a:pt x="238" y="154"/>
                  </a:lnTo>
                  <a:lnTo>
                    <a:pt x="242" y="158"/>
                  </a:lnTo>
                  <a:lnTo>
                    <a:pt x="252" y="165"/>
                  </a:lnTo>
                  <a:lnTo>
                    <a:pt x="252" y="168"/>
                  </a:lnTo>
                  <a:lnTo>
                    <a:pt x="254" y="170"/>
                  </a:lnTo>
                  <a:lnTo>
                    <a:pt x="266" y="179"/>
                  </a:lnTo>
                  <a:lnTo>
                    <a:pt x="273" y="193"/>
                  </a:lnTo>
                  <a:lnTo>
                    <a:pt x="275" y="195"/>
                  </a:lnTo>
                  <a:lnTo>
                    <a:pt x="277" y="205"/>
                  </a:lnTo>
                  <a:lnTo>
                    <a:pt x="280" y="209"/>
                  </a:lnTo>
                  <a:lnTo>
                    <a:pt x="280" y="212"/>
                  </a:lnTo>
                  <a:lnTo>
                    <a:pt x="277" y="214"/>
                  </a:lnTo>
                  <a:lnTo>
                    <a:pt x="270" y="214"/>
                  </a:lnTo>
                  <a:lnTo>
                    <a:pt x="266" y="216"/>
                  </a:lnTo>
                  <a:lnTo>
                    <a:pt x="268" y="219"/>
                  </a:lnTo>
                  <a:lnTo>
                    <a:pt x="273" y="221"/>
                  </a:lnTo>
                  <a:lnTo>
                    <a:pt x="273" y="221"/>
                  </a:lnTo>
                  <a:lnTo>
                    <a:pt x="268" y="226"/>
                  </a:lnTo>
                  <a:lnTo>
                    <a:pt x="270" y="228"/>
                  </a:lnTo>
                  <a:lnTo>
                    <a:pt x="270" y="233"/>
                  </a:lnTo>
                  <a:lnTo>
                    <a:pt x="261" y="237"/>
                  </a:lnTo>
                  <a:lnTo>
                    <a:pt x="261" y="237"/>
                  </a:lnTo>
                  <a:lnTo>
                    <a:pt x="263" y="242"/>
                  </a:lnTo>
                  <a:lnTo>
                    <a:pt x="263" y="244"/>
                  </a:lnTo>
                  <a:lnTo>
                    <a:pt x="254" y="247"/>
                  </a:lnTo>
                  <a:lnTo>
                    <a:pt x="252" y="249"/>
                  </a:lnTo>
                  <a:lnTo>
                    <a:pt x="252" y="251"/>
                  </a:lnTo>
                  <a:lnTo>
                    <a:pt x="249" y="251"/>
                  </a:lnTo>
                  <a:lnTo>
                    <a:pt x="247" y="256"/>
                  </a:lnTo>
                  <a:lnTo>
                    <a:pt x="242" y="258"/>
                  </a:lnTo>
                  <a:lnTo>
                    <a:pt x="245" y="263"/>
                  </a:lnTo>
                  <a:lnTo>
                    <a:pt x="245" y="265"/>
                  </a:lnTo>
                  <a:lnTo>
                    <a:pt x="240" y="265"/>
                  </a:lnTo>
                  <a:lnTo>
                    <a:pt x="238" y="260"/>
                  </a:lnTo>
                  <a:lnTo>
                    <a:pt x="235" y="260"/>
                  </a:lnTo>
                  <a:lnTo>
                    <a:pt x="233" y="260"/>
                  </a:lnTo>
                  <a:lnTo>
                    <a:pt x="233" y="263"/>
                  </a:lnTo>
                  <a:lnTo>
                    <a:pt x="233" y="263"/>
                  </a:lnTo>
                  <a:lnTo>
                    <a:pt x="228" y="263"/>
                  </a:lnTo>
                  <a:lnTo>
                    <a:pt x="226" y="265"/>
                  </a:lnTo>
                  <a:lnTo>
                    <a:pt x="224" y="270"/>
                  </a:lnTo>
                  <a:lnTo>
                    <a:pt x="224" y="274"/>
                  </a:lnTo>
                  <a:lnTo>
                    <a:pt x="219" y="284"/>
                  </a:lnTo>
                  <a:lnTo>
                    <a:pt x="219" y="286"/>
                  </a:lnTo>
                  <a:lnTo>
                    <a:pt x="214" y="286"/>
                  </a:lnTo>
                  <a:lnTo>
                    <a:pt x="212" y="288"/>
                  </a:lnTo>
                  <a:lnTo>
                    <a:pt x="207" y="288"/>
                  </a:lnTo>
                  <a:lnTo>
                    <a:pt x="207" y="291"/>
                  </a:lnTo>
                  <a:lnTo>
                    <a:pt x="205" y="291"/>
                  </a:lnTo>
                  <a:lnTo>
                    <a:pt x="200" y="284"/>
                  </a:lnTo>
                  <a:lnTo>
                    <a:pt x="200" y="281"/>
                  </a:lnTo>
                  <a:lnTo>
                    <a:pt x="203" y="279"/>
                  </a:lnTo>
                  <a:lnTo>
                    <a:pt x="207" y="274"/>
                  </a:lnTo>
                  <a:lnTo>
                    <a:pt x="205" y="274"/>
                  </a:lnTo>
                  <a:lnTo>
                    <a:pt x="200" y="274"/>
                  </a:lnTo>
                  <a:lnTo>
                    <a:pt x="198" y="272"/>
                  </a:lnTo>
                  <a:lnTo>
                    <a:pt x="196" y="263"/>
                  </a:lnTo>
                  <a:lnTo>
                    <a:pt x="193" y="258"/>
                  </a:lnTo>
                  <a:lnTo>
                    <a:pt x="191" y="258"/>
                  </a:lnTo>
                  <a:lnTo>
                    <a:pt x="189" y="254"/>
                  </a:lnTo>
                  <a:lnTo>
                    <a:pt x="186" y="254"/>
                  </a:lnTo>
                  <a:lnTo>
                    <a:pt x="179" y="260"/>
                  </a:lnTo>
                  <a:lnTo>
                    <a:pt x="177" y="258"/>
                  </a:lnTo>
                  <a:lnTo>
                    <a:pt x="173" y="260"/>
                  </a:lnTo>
                  <a:lnTo>
                    <a:pt x="173" y="263"/>
                  </a:lnTo>
                  <a:lnTo>
                    <a:pt x="175" y="263"/>
                  </a:lnTo>
                  <a:lnTo>
                    <a:pt x="177" y="267"/>
                  </a:lnTo>
                  <a:lnTo>
                    <a:pt x="177" y="272"/>
                  </a:lnTo>
                  <a:lnTo>
                    <a:pt x="175" y="274"/>
                  </a:lnTo>
                  <a:lnTo>
                    <a:pt x="175" y="274"/>
                  </a:lnTo>
                  <a:lnTo>
                    <a:pt x="170" y="267"/>
                  </a:lnTo>
                  <a:lnTo>
                    <a:pt x="166" y="267"/>
                  </a:lnTo>
                  <a:lnTo>
                    <a:pt x="163" y="267"/>
                  </a:lnTo>
                  <a:lnTo>
                    <a:pt x="161" y="265"/>
                  </a:lnTo>
                  <a:lnTo>
                    <a:pt x="156" y="267"/>
                  </a:lnTo>
                  <a:lnTo>
                    <a:pt x="147" y="272"/>
                  </a:lnTo>
                  <a:lnTo>
                    <a:pt x="142" y="267"/>
                  </a:lnTo>
                  <a:lnTo>
                    <a:pt x="138" y="267"/>
                  </a:lnTo>
                  <a:lnTo>
                    <a:pt x="133" y="270"/>
                  </a:lnTo>
                  <a:lnTo>
                    <a:pt x="133" y="267"/>
                  </a:lnTo>
                  <a:lnTo>
                    <a:pt x="138" y="260"/>
                  </a:lnTo>
                  <a:lnTo>
                    <a:pt x="131" y="258"/>
                  </a:lnTo>
                  <a:lnTo>
                    <a:pt x="128" y="260"/>
                  </a:lnTo>
                  <a:lnTo>
                    <a:pt x="128" y="265"/>
                  </a:lnTo>
                  <a:lnTo>
                    <a:pt x="128" y="270"/>
                  </a:lnTo>
                  <a:lnTo>
                    <a:pt x="126" y="270"/>
                  </a:lnTo>
                  <a:lnTo>
                    <a:pt x="124" y="270"/>
                  </a:lnTo>
                  <a:lnTo>
                    <a:pt x="119" y="274"/>
                  </a:lnTo>
                  <a:lnTo>
                    <a:pt x="117" y="274"/>
                  </a:lnTo>
                  <a:lnTo>
                    <a:pt x="107" y="270"/>
                  </a:lnTo>
                  <a:lnTo>
                    <a:pt x="107" y="265"/>
                  </a:lnTo>
                  <a:lnTo>
                    <a:pt x="105" y="260"/>
                  </a:lnTo>
                  <a:lnTo>
                    <a:pt x="103" y="260"/>
                  </a:lnTo>
                  <a:lnTo>
                    <a:pt x="100" y="260"/>
                  </a:lnTo>
                  <a:lnTo>
                    <a:pt x="98" y="263"/>
                  </a:lnTo>
                  <a:lnTo>
                    <a:pt x="93" y="265"/>
                  </a:lnTo>
                  <a:lnTo>
                    <a:pt x="91" y="263"/>
                  </a:lnTo>
                  <a:lnTo>
                    <a:pt x="91" y="258"/>
                  </a:lnTo>
                  <a:lnTo>
                    <a:pt x="89" y="256"/>
                  </a:lnTo>
                  <a:lnTo>
                    <a:pt x="86" y="260"/>
                  </a:lnTo>
                  <a:lnTo>
                    <a:pt x="86" y="263"/>
                  </a:lnTo>
                  <a:lnTo>
                    <a:pt x="84" y="265"/>
                  </a:lnTo>
                  <a:lnTo>
                    <a:pt x="84" y="270"/>
                  </a:lnTo>
                  <a:lnTo>
                    <a:pt x="86" y="272"/>
                  </a:lnTo>
                  <a:lnTo>
                    <a:pt x="86" y="277"/>
                  </a:lnTo>
                  <a:lnTo>
                    <a:pt x="89" y="281"/>
                  </a:lnTo>
                  <a:lnTo>
                    <a:pt x="89" y="284"/>
                  </a:lnTo>
                  <a:lnTo>
                    <a:pt x="89" y="284"/>
                  </a:lnTo>
                  <a:lnTo>
                    <a:pt x="82" y="286"/>
                  </a:lnTo>
                  <a:lnTo>
                    <a:pt x="77" y="286"/>
                  </a:lnTo>
                  <a:lnTo>
                    <a:pt x="75" y="291"/>
                  </a:lnTo>
                  <a:lnTo>
                    <a:pt x="70" y="291"/>
                  </a:lnTo>
                  <a:lnTo>
                    <a:pt x="65" y="291"/>
                  </a:lnTo>
                  <a:lnTo>
                    <a:pt x="65" y="293"/>
                  </a:lnTo>
                  <a:lnTo>
                    <a:pt x="63" y="293"/>
                  </a:lnTo>
                  <a:lnTo>
                    <a:pt x="61" y="293"/>
                  </a:lnTo>
                  <a:lnTo>
                    <a:pt x="58" y="291"/>
                  </a:lnTo>
                  <a:lnTo>
                    <a:pt x="58" y="291"/>
                  </a:lnTo>
                  <a:lnTo>
                    <a:pt x="56" y="291"/>
                  </a:lnTo>
                  <a:lnTo>
                    <a:pt x="56" y="295"/>
                  </a:lnTo>
                  <a:lnTo>
                    <a:pt x="56" y="295"/>
                  </a:lnTo>
                  <a:lnTo>
                    <a:pt x="56" y="298"/>
                  </a:lnTo>
                  <a:lnTo>
                    <a:pt x="54" y="298"/>
                  </a:lnTo>
                  <a:lnTo>
                    <a:pt x="51" y="295"/>
                  </a:lnTo>
                  <a:lnTo>
                    <a:pt x="49" y="293"/>
                  </a:lnTo>
                  <a:lnTo>
                    <a:pt x="49" y="291"/>
                  </a:lnTo>
                  <a:lnTo>
                    <a:pt x="47" y="291"/>
                  </a:lnTo>
                  <a:lnTo>
                    <a:pt x="45" y="291"/>
                  </a:lnTo>
                  <a:lnTo>
                    <a:pt x="45" y="291"/>
                  </a:lnTo>
                  <a:lnTo>
                    <a:pt x="42" y="291"/>
                  </a:lnTo>
                  <a:lnTo>
                    <a:pt x="42" y="288"/>
                  </a:lnTo>
                  <a:lnTo>
                    <a:pt x="42" y="288"/>
                  </a:lnTo>
                  <a:lnTo>
                    <a:pt x="42" y="286"/>
                  </a:lnTo>
                  <a:lnTo>
                    <a:pt x="40" y="284"/>
                  </a:lnTo>
                  <a:lnTo>
                    <a:pt x="40" y="284"/>
                  </a:lnTo>
                  <a:lnTo>
                    <a:pt x="40" y="281"/>
                  </a:lnTo>
                  <a:lnTo>
                    <a:pt x="28" y="267"/>
                  </a:lnTo>
                  <a:lnTo>
                    <a:pt x="26" y="267"/>
                  </a:lnTo>
                  <a:lnTo>
                    <a:pt x="26" y="267"/>
                  </a:lnTo>
                  <a:lnTo>
                    <a:pt x="21" y="270"/>
                  </a:lnTo>
                  <a:lnTo>
                    <a:pt x="19" y="270"/>
                  </a:lnTo>
                  <a:lnTo>
                    <a:pt x="19" y="270"/>
                  </a:lnTo>
                  <a:lnTo>
                    <a:pt x="17" y="270"/>
                  </a:lnTo>
                  <a:lnTo>
                    <a:pt x="14" y="270"/>
                  </a:lnTo>
                  <a:lnTo>
                    <a:pt x="12" y="265"/>
                  </a:lnTo>
                  <a:lnTo>
                    <a:pt x="12" y="265"/>
                  </a:lnTo>
                  <a:lnTo>
                    <a:pt x="12" y="263"/>
                  </a:lnTo>
                  <a:lnTo>
                    <a:pt x="12" y="263"/>
                  </a:lnTo>
                  <a:lnTo>
                    <a:pt x="12" y="260"/>
                  </a:lnTo>
                  <a:lnTo>
                    <a:pt x="12" y="260"/>
                  </a:lnTo>
                  <a:lnTo>
                    <a:pt x="12" y="260"/>
                  </a:lnTo>
                  <a:lnTo>
                    <a:pt x="7" y="256"/>
                  </a:lnTo>
                  <a:lnTo>
                    <a:pt x="5" y="251"/>
                  </a:lnTo>
                  <a:lnTo>
                    <a:pt x="5" y="251"/>
                  </a:lnTo>
                  <a:lnTo>
                    <a:pt x="3" y="242"/>
                  </a:lnTo>
                  <a:lnTo>
                    <a:pt x="3" y="242"/>
                  </a:lnTo>
                  <a:lnTo>
                    <a:pt x="3" y="240"/>
                  </a:lnTo>
                  <a:lnTo>
                    <a:pt x="3" y="237"/>
                  </a:lnTo>
                  <a:lnTo>
                    <a:pt x="5" y="237"/>
                  </a:lnTo>
                  <a:lnTo>
                    <a:pt x="3" y="235"/>
                  </a:lnTo>
                  <a:lnTo>
                    <a:pt x="3" y="235"/>
                  </a:lnTo>
                  <a:lnTo>
                    <a:pt x="3" y="230"/>
                  </a:lnTo>
                  <a:lnTo>
                    <a:pt x="0" y="230"/>
                  </a:lnTo>
                  <a:lnTo>
                    <a:pt x="0" y="230"/>
                  </a:lnTo>
                  <a:lnTo>
                    <a:pt x="0" y="228"/>
                  </a:lnTo>
                  <a:lnTo>
                    <a:pt x="0" y="228"/>
                  </a:lnTo>
                  <a:lnTo>
                    <a:pt x="0" y="226"/>
                  </a:lnTo>
                  <a:lnTo>
                    <a:pt x="3" y="223"/>
                  </a:lnTo>
                  <a:lnTo>
                    <a:pt x="3" y="221"/>
                  </a:lnTo>
                  <a:lnTo>
                    <a:pt x="3" y="221"/>
                  </a:lnTo>
                  <a:lnTo>
                    <a:pt x="5" y="221"/>
                  </a:lnTo>
                  <a:lnTo>
                    <a:pt x="5" y="221"/>
                  </a:lnTo>
                  <a:lnTo>
                    <a:pt x="5" y="221"/>
                  </a:lnTo>
                  <a:lnTo>
                    <a:pt x="3" y="219"/>
                  </a:lnTo>
                  <a:lnTo>
                    <a:pt x="0" y="216"/>
                  </a:lnTo>
                  <a:lnTo>
                    <a:pt x="3" y="216"/>
                  </a:lnTo>
                  <a:lnTo>
                    <a:pt x="3" y="216"/>
                  </a:lnTo>
                  <a:lnTo>
                    <a:pt x="3" y="214"/>
                  </a:lnTo>
                  <a:lnTo>
                    <a:pt x="7" y="214"/>
                  </a:lnTo>
                  <a:lnTo>
                    <a:pt x="7" y="214"/>
                  </a:lnTo>
                  <a:lnTo>
                    <a:pt x="10" y="214"/>
                  </a:lnTo>
                  <a:lnTo>
                    <a:pt x="10" y="212"/>
                  </a:lnTo>
                  <a:lnTo>
                    <a:pt x="10" y="212"/>
                  </a:lnTo>
                  <a:lnTo>
                    <a:pt x="7" y="212"/>
                  </a:lnTo>
                  <a:lnTo>
                    <a:pt x="7" y="212"/>
                  </a:lnTo>
                  <a:lnTo>
                    <a:pt x="7" y="212"/>
                  </a:lnTo>
                  <a:lnTo>
                    <a:pt x="5" y="212"/>
                  </a:lnTo>
                  <a:lnTo>
                    <a:pt x="5" y="209"/>
                  </a:lnTo>
                  <a:lnTo>
                    <a:pt x="5" y="207"/>
                  </a:lnTo>
                  <a:lnTo>
                    <a:pt x="5" y="207"/>
                  </a:lnTo>
                  <a:lnTo>
                    <a:pt x="12" y="200"/>
                  </a:lnTo>
                  <a:lnTo>
                    <a:pt x="14" y="198"/>
                  </a:lnTo>
                  <a:lnTo>
                    <a:pt x="14" y="195"/>
                  </a:lnTo>
                  <a:lnTo>
                    <a:pt x="14" y="195"/>
                  </a:lnTo>
                  <a:lnTo>
                    <a:pt x="17" y="195"/>
                  </a:lnTo>
                  <a:lnTo>
                    <a:pt x="17" y="195"/>
                  </a:lnTo>
                  <a:lnTo>
                    <a:pt x="19" y="193"/>
                  </a:lnTo>
                  <a:lnTo>
                    <a:pt x="19" y="193"/>
                  </a:lnTo>
                  <a:lnTo>
                    <a:pt x="19" y="193"/>
                  </a:lnTo>
                  <a:lnTo>
                    <a:pt x="21" y="191"/>
                  </a:lnTo>
                  <a:lnTo>
                    <a:pt x="21" y="191"/>
                  </a:lnTo>
                  <a:lnTo>
                    <a:pt x="21" y="191"/>
                  </a:lnTo>
                  <a:lnTo>
                    <a:pt x="24" y="191"/>
                  </a:lnTo>
                  <a:lnTo>
                    <a:pt x="28" y="191"/>
                  </a:lnTo>
                  <a:lnTo>
                    <a:pt x="28" y="191"/>
                  </a:lnTo>
                  <a:lnTo>
                    <a:pt x="31" y="191"/>
                  </a:lnTo>
                  <a:lnTo>
                    <a:pt x="31" y="188"/>
                  </a:lnTo>
                  <a:lnTo>
                    <a:pt x="31" y="188"/>
                  </a:lnTo>
                  <a:lnTo>
                    <a:pt x="28" y="188"/>
                  </a:lnTo>
                  <a:lnTo>
                    <a:pt x="26" y="186"/>
                  </a:lnTo>
                  <a:lnTo>
                    <a:pt x="26" y="186"/>
                  </a:lnTo>
                  <a:lnTo>
                    <a:pt x="26" y="184"/>
                  </a:lnTo>
                  <a:lnTo>
                    <a:pt x="26" y="181"/>
                  </a:lnTo>
                  <a:lnTo>
                    <a:pt x="26" y="181"/>
                  </a:lnTo>
                  <a:lnTo>
                    <a:pt x="26" y="181"/>
                  </a:lnTo>
                  <a:lnTo>
                    <a:pt x="26" y="179"/>
                  </a:lnTo>
                  <a:lnTo>
                    <a:pt x="28" y="179"/>
                  </a:lnTo>
                  <a:lnTo>
                    <a:pt x="31" y="177"/>
                  </a:lnTo>
                  <a:lnTo>
                    <a:pt x="33" y="177"/>
                  </a:lnTo>
                  <a:lnTo>
                    <a:pt x="33" y="174"/>
                  </a:lnTo>
                  <a:lnTo>
                    <a:pt x="33" y="172"/>
                  </a:lnTo>
                  <a:lnTo>
                    <a:pt x="33" y="172"/>
                  </a:lnTo>
                  <a:lnTo>
                    <a:pt x="17" y="170"/>
                  </a:lnTo>
                  <a:lnTo>
                    <a:pt x="17" y="168"/>
                  </a:lnTo>
                  <a:lnTo>
                    <a:pt x="14" y="163"/>
                  </a:lnTo>
                  <a:lnTo>
                    <a:pt x="10" y="158"/>
                  </a:lnTo>
                  <a:lnTo>
                    <a:pt x="7" y="156"/>
                  </a:lnTo>
                  <a:lnTo>
                    <a:pt x="3" y="151"/>
                  </a:lnTo>
                  <a:lnTo>
                    <a:pt x="3" y="151"/>
                  </a:lnTo>
                  <a:lnTo>
                    <a:pt x="3" y="149"/>
                  </a:lnTo>
                  <a:lnTo>
                    <a:pt x="3" y="149"/>
                  </a:lnTo>
                  <a:lnTo>
                    <a:pt x="3" y="147"/>
                  </a:lnTo>
                  <a:lnTo>
                    <a:pt x="3" y="147"/>
                  </a:lnTo>
                  <a:lnTo>
                    <a:pt x="3" y="144"/>
                  </a:lnTo>
                  <a:lnTo>
                    <a:pt x="3" y="144"/>
                  </a:lnTo>
                  <a:lnTo>
                    <a:pt x="3" y="144"/>
                  </a:lnTo>
                  <a:lnTo>
                    <a:pt x="3" y="142"/>
                  </a:lnTo>
                  <a:lnTo>
                    <a:pt x="5" y="140"/>
                  </a:lnTo>
                  <a:lnTo>
                    <a:pt x="5" y="140"/>
                  </a:lnTo>
                  <a:lnTo>
                    <a:pt x="7" y="140"/>
                  </a:lnTo>
                  <a:lnTo>
                    <a:pt x="12" y="137"/>
                  </a:lnTo>
                  <a:lnTo>
                    <a:pt x="17" y="135"/>
                  </a:lnTo>
                  <a:lnTo>
                    <a:pt x="19" y="135"/>
                  </a:lnTo>
                  <a:lnTo>
                    <a:pt x="28" y="137"/>
                  </a:lnTo>
                  <a:lnTo>
                    <a:pt x="31" y="135"/>
                  </a:lnTo>
                  <a:lnTo>
                    <a:pt x="33" y="133"/>
                  </a:lnTo>
                  <a:lnTo>
                    <a:pt x="35" y="130"/>
                  </a:lnTo>
                  <a:lnTo>
                    <a:pt x="38" y="130"/>
                  </a:lnTo>
                  <a:lnTo>
                    <a:pt x="38" y="128"/>
                  </a:lnTo>
                  <a:lnTo>
                    <a:pt x="38" y="128"/>
                  </a:lnTo>
                  <a:lnTo>
                    <a:pt x="38" y="126"/>
                  </a:lnTo>
                  <a:lnTo>
                    <a:pt x="38" y="126"/>
                  </a:lnTo>
                  <a:lnTo>
                    <a:pt x="35" y="121"/>
                  </a:lnTo>
                  <a:lnTo>
                    <a:pt x="35" y="121"/>
                  </a:lnTo>
                  <a:lnTo>
                    <a:pt x="33" y="121"/>
                  </a:lnTo>
                  <a:lnTo>
                    <a:pt x="33" y="121"/>
                  </a:lnTo>
                  <a:lnTo>
                    <a:pt x="31" y="123"/>
                  </a:lnTo>
                  <a:lnTo>
                    <a:pt x="26" y="126"/>
                  </a:lnTo>
                  <a:lnTo>
                    <a:pt x="26" y="126"/>
                  </a:lnTo>
                  <a:lnTo>
                    <a:pt x="26" y="126"/>
                  </a:lnTo>
                  <a:lnTo>
                    <a:pt x="24" y="126"/>
                  </a:lnTo>
                  <a:lnTo>
                    <a:pt x="24" y="128"/>
                  </a:lnTo>
                  <a:lnTo>
                    <a:pt x="24" y="128"/>
                  </a:lnTo>
                  <a:lnTo>
                    <a:pt x="21" y="128"/>
                  </a:lnTo>
                  <a:lnTo>
                    <a:pt x="21" y="128"/>
                  </a:lnTo>
                  <a:lnTo>
                    <a:pt x="19" y="128"/>
                  </a:lnTo>
                  <a:lnTo>
                    <a:pt x="19" y="128"/>
                  </a:lnTo>
                  <a:lnTo>
                    <a:pt x="19" y="126"/>
                  </a:lnTo>
                  <a:lnTo>
                    <a:pt x="19" y="126"/>
                  </a:lnTo>
                  <a:lnTo>
                    <a:pt x="21" y="126"/>
                  </a:lnTo>
                  <a:lnTo>
                    <a:pt x="21" y="123"/>
                  </a:lnTo>
                  <a:lnTo>
                    <a:pt x="21" y="123"/>
                  </a:lnTo>
                  <a:lnTo>
                    <a:pt x="21" y="123"/>
                  </a:lnTo>
                  <a:lnTo>
                    <a:pt x="19" y="121"/>
                  </a:lnTo>
                  <a:lnTo>
                    <a:pt x="19" y="119"/>
                  </a:lnTo>
                  <a:lnTo>
                    <a:pt x="19" y="116"/>
                  </a:lnTo>
                  <a:lnTo>
                    <a:pt x="19" y="116"/>
                  </a:lnTo>
                  <a:lnTo>
                    <a:pt x="19" y="116"/>
                  </a:lnTo>
                  <a:lnTo>
                    <a:pt x="21" y="114"/>
                  </a:lnTo>
                  <a:lnTo>
                    <a:pt x="21" y="114"/>
                  </a:lnTo>
                  <a:lnTo>
                    <a:pt x="26" y="112"/>
                  </a:lnTo>
                  <a:lnTo>
                    <a:pt x="26" y="112"/>
                  </a:lnTo>
                  <a:lnTo>
                    <a:pt x="28" y="112"/>
                  </a:lnTo>
                  <a:lnTo>
                    <a:pt x="28" y="109"/>
                  </a:lnTo>
                  <a:lnTo>
                    <a:pt x="28" y="109"/>
                  </a:lnTo>
                  <a:lnTo>
                    <a:pt x="28" y="107"/>
                  </a:lnTo>
                  <a:lnTo>
                    <a:pt x="31" y="105"/>
                  </a:lnTo>
                  <a:lnTo>
                    <a:pt x="31" y="105"/>
                  </a:lnTo>
                  <a:lnTo>
                    <a:pt x="31" y="105"/>
                  </a:lnTo>
                  <a:lnTo>
                    <a:pt x="33" y="102"/>
                  </a:lnTo>
                  <a:lnTo>
                    <a:pt x="35" y="102"/>
                  </a:lnTo>
                  <a:lnTo>
                    <a:pt x="35" y="100"/>
                  </a:lnTo>
                  <a:lnTo>
                    <a:pt x="35" y="100"/>
                  </a:lnTo>
                  <a:lnTo>
                    <a:pt x="35" y="95"/>
                  </a:lnTo>
                  <a:lnTo>
                    <a:pt x="38" y="95"/>
                  </a:lnTo>
                  <a:lnTo>
                    <a:pt x="38" y="93"/>
                  </a:lnTo>
                  <a:lnTo>
                    <a:pt x="38" y="93"/>
                  </a:lnTo>
                  <a:lnTo>
                    <a:pt x="40" y="91"/>
                  </a:lnTo>
                  <a:lnTo>
                    <a:pt x="40" y="89"/>
                  </a:lnTo>
                  <a:lnTo>
                    <a:pt x="40" y="89"/>
                  </a:lnTo>
                  <a:lnTo>
                    <a:pt x="42" y="89"/>
                  </a:lnTo>
                  <a:lnTo>
                    <a:pt x="42" y="89"/>
                  </a:lnTo>
                  <a:lnTo>
                    <a:pt x="45" y="89"/>
                  </a:lnTo>
                  <a:lnTo>
                    <a:pt x="45" y="89"/>
                  </a:lnTo>
                  <a:lnTo>
                    <a:pt x="47" y="89"/>
                  </a:lnTo>
                  <a:lnTo>
                    <a:pt x="47" y="86"/>
                  </a:lnTo>
                  <a:lnTo>
                    <a:pt x="49" y="86"/>
                  </a:lnTo>
                  <a:lnTo>
                    <a:pt x="47" y="86"/>
                  </a:lnTo>
                  <a:lnTo>
                    <a:pt x="47" y="84"/>
                  </a:lnTo>
                  <a:lnTo>
                    <a:pt x="45" y="84"/>
                  </a:lnTo>
                  <a:lnTo>
                    <a:pt x="45" y="82"/>
                  </a:lnTo>
                  <a:lnTo>
                    <a:pt x="45" y="79"/>
                  </a:lnTo>
                  <a:lnTo>
                    <a:pt x="45" y="79"/>
                  </a:lnTo>
                  <a:lnTo>
                    <a:pt x="42" y="79"/>
                  </a:lnTo>
                  <a:lnTo>
                    <a:pt x="40" y="77"/>
                  </a:lnTo>
                  <a:lnTo>
                    <a:pt x="35" y="75"/>
                  </a:lnTo>
                  <a:lnTo>
                    <a:pt x="35" y="75"/>
                  </a:lnTo>
                  <a:lnTo>
                    <a:pt x="35" y="75"/>
                  </a:lnTo>
                  <a:lnTo>
                    <a:pt x="35" y="72"/>
                  </a:lnTo>
                  <a:lnTo>
                    <a:pt x="35" y="72"/>
                  </a:lnTo>
                  <a:lnTo>
                    <a:pt x="33" y="72"/>
                  </a:lnTo>
                  <a:lnTo>
                    <a:pt x="31" y="70"/>
                  </a:lnTo>
                  <a:lnTo>
                    <a:pt x="28" y="68"/>
                  </a:lnTo>
                  <a:lnTo>
                    <a:pt x="26" y="68"/>
                  </a:lnTo>
                  <a:lnTo>
                    <a:pt x="26" y="68"/>
                  </a:lnTo>
                  <a:lnTo>
                    <a:pt x="26" y="61"/>
                  </a:lnTo>
                  <a:lnTo>
                    <a:pt x="26" y="61"/>
                  </a:lnTo>
                  <a:lnTo>
                    <a:pt x="26" y="58"/>
                  </a:lnTo>
                  <a:lnTo>
                    <a:pt x="26" y="58"/>
                  </a:lnTo>
                  <a:lnTo>
                    <a:pt x="28" y="58"/>
                  </a:lnTo>
                  <a:lnTo>
                    <a:pt x="28" y="56"/>
                  </a:lnTo>
                  <a:lnTo>
                    <a:pt x="31" y="56"/>
                  </a:lnTo>
                  <a:lnTo>
                    <a:pt x="31" y="54"/>
                  </a:lnTo>
                  <a:lnTo>
                    <a:pt x="31" y="54"/>
                  </a:lnTo>
                  <a:lnTo>
                    <a:pt x="31" y="51"/>
                  </a:lnTo>
                  <a:lnTo>
                    <a:pt x="31" y="51"/>
                  </a:lnTo>
                  <a:lnTo>
                    <a:pt x="31" y="51"/>
                  </a:lnTo>
                  <a:lnTo>
                    <a:pt x="31" y="49"/>
                  </a:lnTo>
                  <a:lnTo>
                    <a:pt x="31" y="47"/>
                  </a:lnTo>
                  <a:lnTo>
                    <a:pt x="33" y="47"/>
                  </a:lnTo>
                  <a:lnTo>
                    <a:pt x="33" y="47"/>
                  </a:lnTo>
                  <a:lnTo>
                    <a:pt x="35" y="47"/>
                  </a:lnTo>
                  <a:lnTo>
                    <a:pt x="35" y="44"/>
                  </a:lnTo>
                  <a:lnTo>
                    <a:pt x="38" y="42"/>
                  </a:lnTo>
                  <a:lnTo>
                    <a:pt x="38" y="42"/>
                  </a:lnTo>
                  <a:lnTo>
                    <a:pt x="40" y="42"/>
                  </a:lnTo>
                  <a:lnTo>
                    <a:pt x="42" y="40"/>
                  </a:lnTo>
                  <a:lnTo>
                    <a:pt x="42" y="40"/>
                  </a:lnTo>
                  <a:lnTo>
                    <a:pt x="42" y="40"/>
                  </a:lnTo>
                  <a:lnTo>
                    <a:pt x="42" y="40"/>
                  </a:lnTo>
                  <a:lnTo>
                    <a:pt x="51" y="35"/>
                  </a:lnTo>
                  <a:lnTo>
                    <a:pt x="51" y="35"/>
                  </a:lnTo>
                  <a:lnTo>
                    <a:pt x="54" y="35"/>
                  </a:lnTo>
                  <a:lnTo>
                    <a:pt x="56" y="37"/>
                  </a:lnTo>
                  <a:lnTo>
                    <a:pt x="56" y="37"/>
                  </a:lnTo>
                  <a:lnTo>
                    <a:pt x="58" y="40"/>
                  </a:lnTo>
                  <a:lnTo>
                    <a:pt x="58" y="40"/>
                  </a:lnTo>
                  <a:lnTo>
                    <a:pt x="61" y="42"/>
                  </a:lnTo>
                  <a:lnTo>
                    <a:pt x="61" y="42"/>
                  </a:lnTo>
                  <a:lnTo>
                    <a:pt x="61" y="42"/>
                  </a:lnTo>
                  <a:lnTo>
                    <a:pt x="68" y="40"/>
                  </a:lnTo>
                  <a:lnTo>
                    <a:pt x="70" y="42"/>
                  </a:lnTo>
                  <a:lnTo>
                    <a:pt x="70" y="42"/>
                  </a:lnTo>
                  <a:lnTo>
                    <a:pt x="72" y="42"/>
                  </a:lnTo>
                  <a:lnTo>
                    <a:pt x="77" y="51"/>
                  </a:lnTo>
                  <a:lnTo>
                    <a:pt x="77" y="51"/>
                  </a:lnTo>
                  <a:lnTo>
                    <a:pt x="79" y="51"/>
                  </a:lnTo>
                  <a:lnTo>
                    <a:pt x="79" y="51"/>
                  </a:lnTo>
                  <a:lnTo>
                    <a:pt x="84" y="51"/>
                  </a:lnTo>
                  <a:lnTo>
                    <a:pt x="84" y="49"/>
                  </a:lnTo>
                  <a:lnTo>
                    <a:pt x="86" y="49"/>
                  </a:lnTo>
                  <a:lnTo>
                    <a:pt x="89" y="49"/>
                  </a:lnTo>
                  <a:lnTo>
                    <a:pt x="89" y="49"/>
                  </a:lnTo>
                  <a:lnTo>
                    <a:pt x="89" y="49"/>
                  </a:lnTo>
                  <a:lnTo>
                    <a:pt x="89" y="44"/>
                  </a:lnTo>
                  <a:lnTo>
                    <a:pt x="89" y="44"/>
                  </a:lnTo>
                  <a:lnTo>
                    <a:pt x="89" y="42"/>
                  </a:lnTo>
                  <a:lnTo>
                    <a:pt x="89" y="40"/>
                  </a:lnTo>
                  <a:lnTo>
                    <a:pt x="89" y="40"/>
                  </a:lnTo>
                  <a:lnTo>
                    <a:pt x="89" y="40"/>
                  </a:lnTo>
                  <a:lnTo>
                    <a:pt x="103" y="37"/>
                  </a:lnTo>
                  <a:lnTo>
                    <a:pt x="107" y="40"/>
                  </a:lnTo>
                  <a:lnTo>
                    <a:pt x="110" y="44"/>
                  </a:lnTo>
                  <a:lnTo>
                    <a:pt x="112" y="44"/>
                  </a:lnTo>
                  <a:lnTo>
                    <a:pt x="114" y="47"/>
                  </a:lnTo>
                  <a:lnTo>
                    <a:pt x="117" y="44"/>
                  </a:lnTo>
                  <a:lnTo>
                    <a:pt x="121" y="47"/>
                  </a:lnTo>
                  <a:lnTo>
                    <a:pt x="126" y="47"/>
                  </a:lnTo>
                  <a:lnTo>
                    <a:pt x="128" y="47"/>
                  </a:lnTo>
                  <a:lnTo>
                    <a:pt x="131" y="42"/>
                  </a:lnTo>
                  <a:lnTo>
                    <a:pt x="138" y="42"/>
                  </a:lnTo>
                  <a:lnTo>
                    <a:pt x="140" y="40"/>
                  </a:lnTo>
                  <a:lnTo>
                    <a:pt x="140" y="30"/>
                  </a:lnTo>
                  <a:lnTo>
                    <a:pt x="140" y="28"/>
                  </a:lnTo>
                  <a:lnTo>
                    <a:pt x="145" y="28"/>
                  </a:lnTo>
                  <a:lnTo>
                    <a:pt x="149" y="23"/>
                  </a:lnTo>
                  <a:lnTo>
                    <a:pt x="154" y="23"/>
                  </a:lnTo>
                  <a:lnTo>
                    <a:pt x="159" y="23"/>
                  </a:lnTo>
                  <a:lnTo>
                    <a:pt x="159" y="23"/>
                  </a:lnTo>
                  <a:lnTo>
                    <a:pt x="166" y="19"/>
                  </a:lnTo>
                  <a:lnTo>
                    <a:pt x="173" y="12"/>
                  </a:lnTo>
                  <a:lnTo>
                    <a:pt x="175" y="12"/>
                  </a:lnTo>
                  <a:lnTo>
                    <a:pt x="177" y="10"/>
                  </a:lnTo>
                  <a:lnTo>
                    <a:pt x="175" y="7"/>
                  </a:lnTo>
                  <a:lnTo>
                    <a:pt x="177" y="5"/>
                  </a:lnTo>
                  <a:lnTo>
                    <a:pt x="177" y="5"/>
                  </a:lnTo>
                  <a:lnTo>
                    <a:pt x="182" y="10"/>
                  </a:lnTo>
                  <a:lnTo>
                    <a:pt x="186" y="10"/>
                  </a:lnTo>
                  <a:lnTo>
                    <a:pt x="191" y="5"/>
                  </a:lnTo>
                  <a:lnTo>
                    <a:pt x="193" y="5"/>
                  </a:lnTo>
                  <a:lnTo>
                    <a:pt x="198" y="3"/>
                  </a:lnTo>
                  <a:lnTo>
                    <a:pt x="203" y="0"/>
                  </a:lnTo>
                  <a:lnTo>
                    <a:pt x="205" y="5"/>
                  </a:lnTo>
                  <a:lnTo>
                    <a:pt x="214" y="12"/>
                  </a:lnTo>
                  <a:close/>
                </a:path>
              </a:pathLst>
            </a:custGeom>
            <a:solidFill>
              <a:srgbClr val="104F75"/>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47" name="Freeform 16">
              <a:extLst>
                <a:ext uri="{FF2B5EF4-FFF2-40B4-BE49-F238E27FC236}">
                  <a16:creationId xmlns:a16="http://schemas.microsoft.com/office/drawing/2014/main" id="{4E2FDA77-3233-E080-3D93-5E8B14625E41}"/>
                </a:ext>
              </a:extLst>
            </p:cNvPr>
            <p:cNvSpPr>
              <a:spLocks/>
            </p:cNvSpPr>
            <p:nvPr/>
          </p:nvSpPr>
          <p:spPr bwMode="auto">
            <a:xfrm>
              <a:off x="8813673" y="3628670"/>
              <a:ext cx="542925" cy="460375"/>
            </a:xfrm>
            <a:custGeom>
              <a:avLst/>
              <a:gdLst>
                <a:gd name="T0" fmla="*/ 280 w 342"/>
                <a:gd name="T1" fmla="*/ 46 h 290"/>
                <a:gd name="T2" fmla="*/ 289 w 342"/>
                <a:gd name="T3" fmla="*/ 67 h 290"/>
                <a:gd name="T4" fmla="*/ 291 w 342"/>
                <a:gd name="T5" fmla="*/ 83 h 290"/>
                <a:gd name="T6" fmla="*/ 298 w 342"/>
                <a:gd name="T7" fmla="*/ 95 h 290"/>
                <a:gd name="T8" fmla="*/ 305 w 342"/>
                <a:gd name="T9" fmla="*/ 109 h 290"/>
                <a:gd name="T10" fmla="*/ 310 w 342"/>
                <a:gd name="T11" fmla="*/ 137 h 290"/>
                <a:gd name="T12" fmla="*/ 342 w 342"/>
                <a:gd name="T13" fmla="*/ 237 h 290"/>
                <a:gd name="T14" fmla="*/ 340 w 342"/>
                <a:gd name="T15" fmla="*/ 244 h 290"/>
                <a:gd name="T16" fmla="*/ 319 w 342"/>
                <a:gd name="T17" fmla="*/ 237 h 290"/>
                <a:gd name="T18" fmla="*/ 296 w 342"/>
                <a:gd name="T19" fmla="*/ 211 h 290"/>
                <a:gd name="T20" fmla="*/ 266 w 342"/>
                <a:gd name="T21" fmla="*/ 209 h 290"/>
                <a:gd name="T22" fmla="*/ 249 w 342"/>
                <a:gd name="T23" fmla="*/ 204 h 290"/>
                <a:gd name="T24" fmla="*/ 231 w 342"/>
                <a:gd name="T25" fmla="*/ 209 h 290"/>
                <a:gd name="T26" fmla="*/ 247 w 342"/>
                <a:gd name="T27" fmla="*/ 209 h 290"/>
                <a:gd name="T28" fmla="*/ 284 w 342"/>
                <a:gd name="T29" fmla="*/ 211 h 290"/>
                <a:gd name="T30" fmla="*/ 307 w 342"/>
                <a:gd name="T31" fmla="*/ 244 h 290"/>
                <a:gd name="T32" fmla="*/ 324 w 342"/>
                <a:gd name="T33" fmla="*/ 260 h 290"/>
                <a:gd name="T34" fmla="*/ 312 w 342"/>
                <a:gd name="T35" fmla="*/ 262 h 290"/>
                <a:gd name="T36" fmla="*/ 298 w 342"/>
                <a:gd name="T37" fmla="*/ 276 h 290"/>
                <a:gd name="T38" fmla="*/ 293 w 342"/>
                <a:gd name="T39" fmla="*/ 255 h 290"/>
                <a:gd name="T40" fmla="*/ 284 w 342"/>
                <a:gd name="T41" fmla="*/ 237 h 290"/>
                <a:gd name="T42" fmla="*/ 256 w 342"/>
                <a:gd name="T43" fmla="*/ 248 h 290"/>
                <a:gd name="T44" fmla="*/ 259 w 342"/>
                <a:gd name="T45" fmla="*/ 255 h 290"/>
                <a:gd name="T46" fmla="*/ 238 w 342"/>
                <a:gd name="T47" fmla="*/ 265 h 290"/>
                <a:gd name="T48" fmla="*/ 221 w 342"/>
                <a:gd name="T49" fmla="*/ 248 h 290"/>
                <a:gd name="T50" fmla="*/ 198 w 342"/>
                <a:gd name="T51" fmla="*/ 255 h 290"/>
                <a:gd name="T52" fmla="*/ 179 w 342"/>
                <a:gd name="T53" fmla="*/ 267 h 290"/>
                <a:gd name="T54" fmla="*/ 163 w 342"/>
                <a:gd name="T55" fmla="*/ 279 h 290"/>
                <a:gd name="T56" fmla="*/ 142 w 342"/>
                <a:gd name="T57" fmla="*/ 286 h 290"/>
                <a:gd name="T58" fmla="*/ 133 w 342"/>
                <a:gd name="T59" fmla="*/ 286 h 290"/>
                <a:gd name="T60" fmla="*/ 117 w 342"/>
                <a:gd name="T61" fmla="*/ 281 h 290"/>
                <a:gd name="T62" fmla="*/ 96 w 342"/>
                <a:gd name="T63" fmla="*/ 276 h 290"/>
                <a:gd name="T64" fmla="*/ 93 w 342"/>
                <a:gd name="T65" fmla="*/ 262 h 290"/>
                <a:gd name="T66" fmla="*/ 84 w 342"/>
                <a:gd name="T67" fmla="*/ 248 h 290"/>
                <a:gd name="T68" fmla="*/ 70 w 342"/>
                <a:gd name="T69" fmla="*/ 220 h 290"/>
                <a:gd name="T70" fmla="*/ 54 w 342"/>
                <a:gd name="T71" fmla="*/ 195 h 290"/>
                <a:gd name="T72" fmla="*/ 47 w 342"/>
                <a:gd name="T73" fmla="*/ 186 h 290"/>
                <a:gd name="T74" fmla="*/ 37 w 342"/>
                <a:gd name="T75" fmla="*/ 176 h 290"/>
                <a:gd name="T76" fmla="*/ 58 w 342"/>
                <a:gd name="T77" fmla="*/ 151 h 290"/>
                <a:gd name="T78" fmla="*/ 44 w 342"/>
                <a:gd name="T79" fmla="*/ 121 h 290"/>
                <a:gd name="T80" fmla="*/ 30 w 342"/>
                <a:gd name="T81" fmla="*/ 114 h 290"/>
                <a:gd name="T82" fmla="*/ 23 w 342"/>
                <a:gd name="T83" fmla="*/ 97 h 290"/>
                <a:gd name="T84" fmla="*/ 12 w 342"/>
                <a:gd name="T85" fmla="*/ 88 h 290"/>
                <a:gd name="T86" fmla="*/ 7 w 342"/>
                <a:gd name="T87" fmla="*/ 67 h 290"/>
                <a:gd name="T88" fmla="*/ 33 w 342"/>
                <a:gd name="T89" fmla="*/ 51 h 290"/>
                <a:gd name="T90" fmla="*/ 40 w 342"/>
                <a:gd name="T91" fmla="*/ 42 h 290"/>
                <a:gd name="T92" fmla="*/ 47 w 342"/>
                <a:gd name="T93" fmla="*/ 18 h 290"/>
                <a:gd name="T94" fmla="*/ 65 w 342"/>
                <a:gd name="T95" fmla="*/ 9 h 290"/>
                <a:gd name="T96" fmla="*/ 96 w 342"/>
                <a:gd name="T97" fmla="*/ 14 h 290"/>
                <a:gd name="T98" fmla="*/ 117 w 342"/>
                <a:gd name="T99" fmla="*/ 7 h 290"/>
                <a:gd name="T100" fmla="*/ 131 w 342"/>
                <a:gd name="T101" fmla="*/ 2 h 290"/>
                <a:gd name="T102" fmla="*/ 142 w 342"/>
                <a:gd name="T103" fmla="*/ 9 h 290"/>
                <a:gd name="T104" fmla="*/ 154 w 342"/>
                <a:gd name="T105" fmla="*/ 18 h 290"/>
                <a:gd name="T106" fmla="*/ 156 w 342"/>
                <a:gd name="T107" fmla="*/ 14 h 290"/>
                <a:gd name="T108" fmla="*/ 165 w 342"/>
                <a:gd name="T109" fmla="*/ 16 h 290"/>
                <a:gd name="T110" fmla="*/ 175 w 342"/>
                <a:gd name="T111" fmla="*/ 23 h 290"/>
                <a:gd name="T112" fmla="*/ 203 w 342"/>
                <a:gd name="T113" fmla="*/ 21 h 290"/>
                <a:gd name="T114" fmla="*/ 235 w 342"/>
                <a:gd name="T115" fmla="*/ 25 h 290"/>
                <a:gd name="T116" fmla="*/ 249 w 342"/>
                <a:gd name="T117" fmla="*/ 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2" h="290">
                  <a:moveTo>
                    <a:pt x="249" y="14"/>
                  </a:moveTo>
                  <a:lnTo>
                    <a:pt x="275" y="35"/>
                  </a:lnTo>
                  <a:lnTo>
                    <a:pt x="280" y="39"/>
                  </a:lnTo>
                  <a:lnTo>
                    <a:pt x="280" y="44"/>
                  </a:lnTo>
                  <a:lnTo>
                    <a:pt x="280" y="46"/>
                  </a:lnTo>
                  <a:lnTo>
                    <a:pt x="280" y="46"/>
                  </a:lnTo>
                  <a:lnTo>
                    <a:pt x="280" y="49"/>
                  </a:lnTo>
                  <a:lnTo>
                    <a:pt x="280" y="51"/>
                  </a:lnTo>
                  <a:lnTo>
                    <a:pt x="284" y="56"/>
                  </a:lnTo>
                  <a:lnTo>
                    <a:pt x="286" y="58"/>
                  </a:lnTo>
                  <a:lnTo>
                    <a:pt x="286" y="60"/>
                  </a:lnTo>
                  <a:lnTo>
                    <a:pt x="289" y="67"/>
                  </a:lnTo>
                  <a:lnTo>
                    <a:pt x="289" y="72"/>
                  </a:lnTo>
                  <a:lnTo>
                    <a:pt x="289" y="76"/>
                  </a:lnTo>
                  <a:lnTo>
                    <a:pt x="289" y="79"/>
                  </a:lnTo>
                  <a:lnTo>
                    <a:pt x="289" y="81"/>
                  </a:lnTo>
                  <a:lnTo>
                    <a:pt x="291" y="81"/>
                  </a:lnTo>
                  <a:lnTo>
                    <a:pt x="291" y="83"/>
                  </a:lnTo>
                  <a:lnTo>
                    <a:pt x="291" y="86"/>
                  </a:lnTo>
                  <a:lnTo>
                    <a:pt x="291" y="86"/>
                  </a:lnTo>
                  <a:lnTo>
                    <a:pt x="291" y="86"/>
                  </a:lnTo>
                  <a:lnTo>
                    <a:pt x="293" y="90"/>
                  </a:lnTo>
                  <a:lnTo>
                    <a:pt x="293" y="93"/>
                  </a:lnTo>
                  <a:lnTo>
                    <a:pt x="298" y="95"/>
                  </a:lnTo>
                  <a:lnTo>
                    <a:pt x="300" y="95"/>
                  </a:lnTo>
                  <a:lnTo>
                    <a:pt x="303" y="97"/>
                  </a:lnTo>
                  <a:lnTo>
                    <a:pt x="305" y="100"/>
                  </a:lnTo>
                  <a:lnTo>
                    <a:pt x="305" y="102"/>
                  </a:lnTo>
                  <a:lnTo>
                    <a:pt x="305" y="107"/>
                  </a:lnTo>
                  <a:lnTo>
                    <a:pt x="305" y="109"/>
                  </a:lnTo>
                  <a:lnTo>
                    <a:pt x="307" y="114"/>
                  </a:lnTo>
                  <a:lnTo>
                    <a:pt x="312" y="116"/>
                  </a:lnTo>
                  <a:lnTo>
                    <a:pt x="324" y="121"/>
                  </a:lnTo>
                  <a:lnTo>
                    <a:pt x="328" y="128"/>
                  </a:lnTo>
                  <a:lnTo>
                    <a:pt x="314" y="132"/>
                  </a:lnTo>
                  <a:lnTo>
                    <a:pt x="310" y="137"/>
                  </a:lnTo>
                  <a:lnTo>
                    <a:pt x="305" y="144"/>
                  </a:lnTo>
                  <a:lnTo>
                    <a:pt x="307" y="151"/>
                  </a:lnTo>
                  <a:lnTo>
                    <a:pt x="310" y="167"/>
                  </a:lnTo>
                  <a:lnTo>
                    <a:pt x="312" y="174"/>
                  </a:lnTo>
                  <a:lnTo>
                    <a:pt x="321" y="197"/>
                  </a:lnTo>
                  <a:lnTo>
                    <a:pt x="342" y="237"/>
                  </a:lnTo>
                  <a:lnTo>
                    <a:pt x="342" y="244"/>
                  </a:lnTo>
                  <a:lnTo>
                    <a:pt x="340" y="251"/>
                  </a:lnTo>
                  <a:lnTo>
                    <a:pt x="340" y="251"/>
                  </a:lnTo>
                  <a:lnTo>
                    <a:pt x="335" y="253"/>
                  </a:lnTo>
                  <a:lnTo>
                    <a:pt x="340" y="246"/>
                  </a:lnTo>
                  <a:lnTo>
                    <a:pt x="340" y="244"/>
                  </a:lnTo>
                  <a:lnTo>
                    <a:pt x="340" y="241"/>
                  </a:lnTo>
                  <a:lnTo>
                    <a:pt x="335" y="239"/>
                  </a:lnTo>
                  <a:lnTo>
                    <a:pt x="331" y="234"/>
                  </a:lnTo>
                  <a:lnTo>
                    <a:pt x="328" y="234"/>
                  </a:lnTo>
                  <a:lnTo>
                    <a:pt x="326" y="234"/>
                  </a:lnTo>
                  <a:lnTo>
                    <a:pt x="319" y="237"/>
                  </a:lnTo>
                  <a:lnTo>
                    <a:pt x="317" y="237"/>
                  </a:lnTo>
                  <a:lnTo>
                    <a:pt x="314" y="237"/>
                  </a:lnTo>
                  <a:lnTo>
                    <a:pt x="310" y="234"/>
                  </a:lnTo>
                  <a:lnTo>
                    <a:pt x="307" y="232"/>
                  </a:lnTo>
                  <a:lnTo>
                    <a:pt x="305" y="230"/>
                  </a:lnTo>
                  <a:lnTo>
                    <a:pt x="296" y="211"/>
                  </a:lnTo>
                  <a:lnTo>
                    <a:pt x="291" y="209"/>
                  </a:lnTo>
                  <a:lnTo>
                    <a:pt x="286" y="207"/>
                  </a:lnTo>
                  <a:lnTo>
                    <a:pt x="286" y="207"/>
                  </a:lnTo>
                  <a:lnTo>
                    <a:pt x="286" y="207"/>
                  </a:lnTo>
                  <a:lnTo>
                    <a:pt x="268" y="209"/>
                  </a:lnTo>
                  <a:lnTo>
                    <a:pt x="266" y="209"/>
                  </a:lnTo>
                  <a:lnTo>
                    <a:pt x="266" y="209"/>
                  </a:lnTo>
                  <a:lnTo>
                    <a:pt x="259" y="209"/>
                  </a:lnTo>
                  <a:lnTo>
                    <a:pt x="254" y="209"/>
                  </a:lnTo>
                  <a:lnTo>
                    <a:pt x="252" y="209"/>
                  </a:lnTo>
                  <a:lnTo>
                    <a:pt x="249" y="204"/>
                  </a:lnTo>
                  <a:lnTo>
                    <a:pt x="249" y="204"/>
                  </a:lnTo>
                  <a:lnTo>
                    <a:pt x="242" y="202"/>
                  </a:lnTo>
                  <a:lnTo>
                    <a:pt x="238" y="202"/>
                  </a:lnTo>
                  <a:lnTo>
                    <a:pt x="228" y="207"/>
                  </a:lnTo>
                  <a:lnTo>
                    <a:pt x="228" y="207"/>
                  </a:lnTo>
                  <a:lnTo>
                    <a:pt x="231" y="209"/>
                  </a:lnTo>
                  <a:lnTo>
                    <a:pt x="231" y="209"/>
                  </a:lnTo>
                  <a:lnTo>
                    <a:pt x="231" y="209"/>
                  </a:lnTo>
                  <a:lnTo>
                    <a:pt x="233" y="211"/>
                  </a:lnTo>
                  <a:lnTo>
                    <a:pt x="235" y="207"/>
                  </a:lnTo>
                  <a:lnTo>
                    <a:pt x="240" y="207"/>
                  </a:lnTo>
                  <a:lnTo>
                    <a:pt x="242" y="207"/>
                  </a:lnTo>
                  <a:lnTo>
                    <a:pt x="247" y="209"/>
                  </a:lnTo>
                  <a:lnTo>
                    <a:pt x="252" y="214"/>
                  </a:lnTo>
                  <a:lnTo>
                    <a:pt x="252" y="214"/>
                  </a:lnTo>
                  <a:lnTo>
                    <a:pt x="254" y="216"/>
                  </a:lnTo>
                  <a:lnTo>
                    <a:pt x="256" y="216"/>
                  </a:lnTo>
                  <a:lnTo>
                    <a:pt x="261" y="214"/>
                  </a:lnTo>
                  <a:lnTo>
                    <a:pt x="284" y="211"/>
                  </a:lnTo>
                  <a:lnTo>
                    <a:pt x="289" y="214"/>
                  </a:lnTo>
                  <a:lnTo>
                    <a:pt x="291" y="218"/>
                  </a:lnTo>
                  <a:lnTo>
                    <a:pt x="296" y="232"/>
                  </a:lnTo>
                  <a:lnTo>
                    <a:pt x="298" y="234"/>
                  </a:lnTo>
                  <a:lnTo>
                    <a:pt x="303" y="239"/>
                  </a:lnTo>
                  <a:lnTo>
                    <a:pt x="307" y="244"/>
                  </a:lnTo>
                  <a:lnTo>
                    <a:pt x="310" y="246"/>
                  </a:lnTo>
                  <a:lnTo>
                    <a:pt x="314" y="248"/>
                  </a:lnTo>
                  <a:lnTo>
                    <a:pt x="314" y="248"/>
                  </a:lnTo>
                  <a:lnTo>
                    <a:pt x="321" y="258"/>
                  </a:lnTo>
                  <a:lnTo>
                    <a:pt x="324" y="260"/>
                  </a:lnTo>
                  <a:lnTo>
                    <a:pt x="324" y="260"/>
                  </a:lnTo>
                  <a:lnTo>
                    <a:pt x="321" y="260"/>
                  </a:lnTo>
                  <a:lnTo>
                    <a:pt x="321" y="262"/>
                  </a:lnTo>
                  <a:lnTo>
                    <a:pt x="319" y="262"/>
                  </a:lnTo>
                  <a:lnTo>
                    <a:pt x="317" y="262"/>
                  </a:lnTo>
                  <a:lnTo>
                    <a:pt x="314" y="262"/>
                  </a:lnTo>
                  <a:lnTo>
                    <a:pt x="312" y="262"/>
                  </a:lnTo>
                  <a:lnTo>
                    <a:pt x="305" y="272"/>
                  </a:lnTo>
                  <a:lnTo>
                    <a:pt x="305" y="274"/>
                  </a:lnTo>
                  <a:lnTo>
                    <a:pt x="307" y="279"/>
                  </a:lnTo>
                  <a:lnTo>
                    <a:pt x="303" y="281"/>
                  </a:lnTo>
                  <a:lnTo>
                    <a:pt x="303" y="281"/>
                  </a:lnTo>
                  <a:lnTo>
                    <a:pt x="298" y="276"/>
                  </a:lnTo>
                  <a:lnTo>
                    <a:pt x="298" y="274"/>
                  </a:lnTo>
                  <a:lnTo>
                    <a:pt x="296" y="274"/>
                  </a:lnTo>
                  <a:lnTo>
                    <a:pt x="296" y="272"/>
                  </a:lnTo>
                  <a:lnTo>
                    <a:pt x="293" y="267"/>
                  </a:lnTo>
                  <a:lnTo>
                    <a:pt x="293" y="262"/>
                  </a:lnTo>
                  <a:lnTo>
                    <a:pt x="293" y="255"/>
                  </a:lnTo>
                  <a:lnTo>
                    <a:pt x="298" y="251"/>
                  </a:lnTo>
                  <a:lnTo>
                    <a:pt x="298" y="248"/>
                  </a:lnTo>
                  <a:lnTo>
                    <a:pt x="293" y="246"/>
                  </a:lnTo>
                  <a:lnTo>
                    <a:pt x="291" y="241"/>
                  </a:lnTo>
                  <a:lnTo>
                    <a:pt x="284" y="237"/>
                  </a:lnTo>
                  <a:lnTo>
                    <a:pt x="284" y="237"/>
                  </a:lnTo>
                  <a:lnTo>
                    <a:pt x="284" y="237"/>
                  </a:lnTo>
                  <a:lnTo>
                    <a:pt x="282" y="241"/>
                  </a:lnTo>
                  <a:lnTo>
                    <a:pt x="277" y="246"/>
                  </a:lnTo>
                  <a:lnTo>
                    <a:pt x="273" y="246"/>
                  </a:lnTo>
                  <a:lnTo>
                    <a:pt x="266" y="244"/>
                  </a:lnTo>
                  <a:lnTo>
                    <a:pt x="256" y="248"/>
                  </a:lnTo>
                  <a:lnTo>
                    <a:pt x="256" y="248"/>
                  </a:lnTo>
                  <a:lnTo>
                    <a:pt x="266" y="251"/>
                  </a:lnTo>
                  <a:lnTo>
                    <a:pt x="268" y="253"/>
                  </a:lnTo>
                  <a:lnTo>
                    <a:pt x="268" y="255"/>
                  </a:lnTo>
                  <a:lnTo>
                    <a:pt x="266" y="255"/>
                  </a:lnTo>
                  <a:lnTo>
                    <a:pt x="259" y="255"/>
                  </a:lnTo>
                  <a:lnTo>
                    <a:pt x="256" y="260"/>
                  </a:lnTo>
                  <a:lnTo>
                    <a:pt x="256" y="262"/>
                  </a:lnTo>
                  <a:lnTo>
                    <a:pt x="256" y="262"/>
                  </a:lnTo>
                  <a:lnTo>
                    <a:pt x="249" y="265"/>
                  </a:lnTo>
                  <a:lnTo>
                    <a:pt x="242" y="267"/>
                  </a:lnTo>
                  <a:lnTo>
                    <a:pt x="238" y="265"/>
                  </a:lnTo>
                  <a:lnTo>
                    <a:pt x="235" y="265"/>
                  </a:lnTo>
                  <a:lnTo>
                    <a:pt x="235" y="262"/>
                  </a:lnTo>
                  <a:lnTo>
                    <a:pt x="238" y="258"/>
                  </a:lnTo>
                  <a:lnTo>
                    <a:pt x="238" y="255"/>
                  </a:lnTo>
                  <a:lnTo>
                    <a:pt x="238" y="253"/>
                  </a:lnTo>
                  <a:lnTo>
                    <a:pt x="221" y="248"/>
                  </a:lnTo>
                  <a:lnTo>
                    <a:pt x="219" y="255"/>
                  </a:lnTo>
                  <a:lnTo>
                    <a:pt x="214" y="258"/>
                  </a:lnTo>
                  <a:lnTo>
                    <a:pt x="210" y="262"/>
                  </a:lnTo>
                  <a:lnTo>
                    <a:pt x="196" y="258"/>
                  </a:lnTo>
                  <a:lnTo>
                    <a:pt x="196" y="258"/>
                  </a:lnTo>
                  <a:lnTo>
                    <a:pt x="198" y="255"/>
                  </a:lnTo>
                  <a:lnTo>
                    <a:pt x="198" y="255"/>
                  </a:lnTo>
                  <a:lnTo>
                    <a:pt x="196" y="251"/>
                  </a:lnTo>
                  <a:lnTo>
                    <a:pt x="189" y="255"/>
                  </a:lnTo>
                  <a:lnTo>
                    <a:pt x="186" y="262"/>
                  </a:lnTo>
                  <a:lnTo>
                    <a:pt x="182" y="267"/>
                  </a:lnTo>
                  <a:lnTo>
                    <a:pt x="179" y="267"/>
                  </a:lnTo>
                  <a:lnTo>
                    <a:pt x="177" y="265"/>
                  </a:lnTo>
                  <a:lnTo>
                    <a:pt x="172" y="265"/>
                  </a:lnTo>
                  <a:lnTo>
                    <a:pt x="170" y="267"/>
                  </a:lnTo>
                  <a:lnTo>
                    <a:pt x="165" y="272"/>
                  </a:lnTo>
                  <a:lnTo>
                    <a:pt x="165" y="276"/>
                  </a:lnTo>
                  <a:lnTo>
                    <a:pt x="163" y="279"/>
                  </a:lnTo>
                  <a:lnTo>
                    <a:pt x="161" y="281"/>
                  </a:lnTo>
                  <a:lnTo>
                    <a:pt x="161" y="283"/>
                  </a:lnTo>
                  <a:lnTo>
                    <a:pt x="156" y="288"/>
                  </a:lnTo>
                  <a:lnTo>
                    <a:pt x="154" y="290"/>
                  </a:lnTo>
                  <a:lnTo>
                    <a:pt x="145" y="288"/>
                  </a:lnTo>
                  <a:lnTo>
                    <a:pt x="142" y="286"/>
                  </a:lnTo>
                  <a:lnTo>
                    <a:pt x="140" y="286"/>
                  </a:lnTo>
                  <a:lnTo>
                    <a:pt x="142" y="283"/>
                  </a:lnTo>
                  <a:lnTo>
                    <a:pt x="140" y="281"/>
                  </a:lnTo>
                  <a:lnTo>
                    <a:pt x="138" y="283"/>
                  </a:lnTo>
                  <a:lnTo>
                    <a:pt x="135" y="286"/>
                  </a:lnTo>
                  <a:lnTo>
                    <a:pt x="133" y="286"/>
                  </a:lnTo>
                  <a:lnTo>
                    <a:pt x="131" y="283"/>
                  </a:lnTo>
                  <a:lnTo>
                    <a:pt x="128" y="283"/>
                  </a:lnTo>
                  <a:lnTo>
                    <a:pt x="128" y="279"/>
                  </a:lnTo>
                  <a:lnTo>
                    <a:pt x="126" y="279"/>
                  </a:lnTo>
                  <a:lnTo>
                    <a:pt x="121" y="279"/>
                  </a:lnTo>
                  <a:lnTo>
                    <a:pt x="117" y="281"/>
                  </a:lnTo>
                  <a:lnTo>
                    <a:pt x="107" y="283"/>
                  </a:lnTo>
                  <a:lnTo>
                    <a:pt x="103" y="279"/>
                  </a:lnTo>
                  <a:lnTo>
                    <a:pt x="98" y="279"/>
                  </a:lnTo>
                  <a:lnTo>
                    <a:pt x="96" y="279"/>
                  </a:lnTo>
                  <a:lnTo>
                    <a:pt x="96" y="276"/>
                  </a:lnTo>
                  <a:lnTo>
                    <a:pt x="96" y="276"/>
                  </a:lnTo>
                  <a:lnTo>
                    <a:pt x="100" y="274"/>
                  </a:lnTo>
                  <a:lnTo>
                    <a:pt x="100" y="274"/>
                  </a:lnTo>
                  <a:lnTo>
                    <a:pt x="100" y="272"/>
                  </a:lnTo>
                  <a:lnTo>
                    <a:pt x="93" y="267"/>
                  </a:lnTo>
                  <a:lnTo>
                    <a:pt x="93" y="265"/>
                  </a:lnTo>
                  <a:lnTo>
                    <a:pt x="93" y="262"/>
                  </a:lnTo>
                  <a:lnTo>
                    <a:pt x="93" y="260"/>
                  </a:lnTo>
                  <a:lnTo>
                    <a:pt x="91" y="258"/>
                  </a:lnTo>
                  <a:lnTo>
                    <a:pt x="89" y="258"/>
                  </a:lnTo>
                  <a:lnTo>
                    <a:pt x="86" y="253"/>
                  </a:lnTo>
                  <a:lnTo>
                    <a:pt x="84" y="251"/>
                  </a:lnTo>
                  <a:lnTo>
                    <a:pt x="84" y="248"/>
                  </a:lnTo>
                  <a:lnTo>
                    <a:pt x="84" y="244"/>
                  </a:lnTo>
                  <a:lnTo>
                    <a:pt x="79" y="237"/>
                  </a:lnTo>
                  <a:lnTo>
                    <a:pt x="77" y="234"/>
                  </a:lnTo>
                  <a:lnTo>
                    <a:pt x="77" y="230"/>
                  </a:lnTo>
                  <a:lnTo>
                    <a:pt x="77" y="225"/>
                  </a:lnTo>
                  <a:lnTo>
                    <a:pt x="70" y="220"/>
                  </a:lnTo>
                  <a:lnTo>
                    <a:pt x="65" y="220"/>
                  </a:lnTo>
                  <a:lnTo>
                    <a:pt x="61" y="211"/>
                  </a:lnTo>
                  <a:lnTo>
                    <a:pt x="58" y="204"/>
                  </a:lnTo>
                  <a:lnTo>
                    <a:pt x="56" y="200"/>
                  </a:lnTo>
                  <a:lnTo>
                    <a:pt x="54" y="200"/>
                  </a:lnTo>
                  <a:lnTo>
                    <a:pt x="54" y="195"/>
                  </a:lnTo>
                  <a:lnTo>
                    <a:pt x="51" y="193"/>
                  </a:lnTo>
                  <a:lnTo>
                    <a:pt x="54" y="188"/>
                  </a:lnTo>
                  <a:lnTo>
                    <a:pt x="51" y="186"/>
                  </a:lnTo>
                  <a:lnTo>
                    <a:pt x="51" y="183"/>
                  </a:lnTo>
                  <a:lnTo>
                    <a:pt x="49" y="183"/>
                  </a:lnTo>
                  <a:lnTo>
                    <a:pt x="47" y="186"/>
                  </a:lnTo>
                  <a:lnTo>
                    <a:pt x="44" y="186"/>
                  </a:lnTo>
                  <a:lnTo>
                    <a:pt x="42" y="181"/>
                  </a:lnTo>
                  <a:lnTo>
                    <a:pt x="40" y="181"/>
                  </a:lnTo>
                  <a:lnTo>
                    <a:pt x="40" y="179"/>
                  </a:lnTo>
                  <a:lnTo>
                    <a:pt x="37" y="179"/>
                  </a:lnTo>
                  <a:lnTo>
                    <a:pt x="37" y="176"/>
                  </a:lnTo>
                  <a:lnTo>
                    <a:pt x="37" y="172"/>
                  </a:lnTo>
                  <a:lnTo>
                    <a:pt x="44" y="165"/>
                  </a:lnTo>
                  <a:lnTo>
                    <a:pt x="44" y="158"/>
                  </a:lnTo>
                  <a:lnTo>
                    <a:pt x="49" y="153"/>
                  </a:lnTo>
                  <a:lnTo>
                    <a:pt x="56" y="153"/>
                  </a:lnTo>
                  <a:lnTo>
                    <a:pt x="58" y="151"/>
                  </a:lnTo>
                  <a:lnTo>
                    <a:pt x="58" y="146"/>
                  </a:lnTo>
                  <a:lnTo>
                    <a:pt x="56" y="144"/>
                  </a:lnTo>
                  <a:lnTo>
                    <a:pt x="51" y="137"/>
                  </a:lnTo>
                  <a:lnTo>
                    <a:pt x="51" y="130"/>
                  </a:lnTo>
                  <a:lnTo>
                    <a:pt x="44" y="125"/>
                  </a:lnTo>
                  <a:lnTo>
                    <a:pt x="44" y="121"/>
                  </a:lnTo>
                  <a:lnTo>
                    <a:pt x="42" y="118"/>
                  </a:lnTo>
                  <a:lnTo>
                    <a:pt x="40" y="116"/>
                  </a:lnTo>
                  <a:lnTo>
                    <a:pt x="37" y="114"/>
                  </a:lnTo>
                  <a:lnTo>
                    <a:pt x="37" y="114"/>
                  </a:lnTo>
                  <a:lnTo>
                    <a:pt x="33" y="114"/>
                  </a:lnTo>
                  <a:lnTo>
                    <a:pt x="30" y="114"/>
                  </a:lnTo>
                  <a:lnTo>
                    <a:pt x="28" y="109"/>
                  </a:lnTo>
                  <a:lnTo>
                    <a:pt x="23" y="109"/>
                  </a:lnTo>
                  <a:lnTo>
                    <a:pt x="23" y="107"/>
                  </a:lnTo>
                  <a:lnTo>
                    <a:pt x="26" y="102"/>
                  </a:lnTo>
                  <a:lnTo>
                    <a:pt x="23" y="102"/>
                  </a:lnTo>
                  <a:lnTo>
                    <a:pt x="23" y="97"/>
                  </a:lnTo>
                  <a:lnTo>
                    <a:pt x="23" y="97"/>
                  </a:lnTo>
                  <a:lnTo>
                    <a:pt x="21" y="95"/>
                  </a:lnTo>
                  <a:lnTo>
                    <a:pt x="14" y="95"/>
                  </a:lnTo>
                  <a:lnTo>
                    <a:pt x="12" y="95"/>
                  </a:lnTo>
                  <a:lnTo>
                    <a:pt x="10" y="93"/>
                  </a:lnTo>
                  <a:lnTo>
                    <a:pt x="12" y="88"/>
                  </a:lnTo>
                  <a:lnTo>
                    <a:pt x="10" y="86"/>
                  </a:lnTo>
                  <a:lnTo>
                    <a:pt x="5" y="81"/>
                  </a:lnTo>
                  <a:lnTo>
                    <a:pt x="3" y="76"/>
                  </a:lnTo>
                  <a:lnTo>
                    <a:pt x="0" y="72"/>
                  </a:lnTo>
                  <a:lnTo>
                    <a:pt x="3" y="67"/>
                  </a:lnTo>
                  <a:lnTo>
                    <a:pt x="7" y="67"/>
                  </a:lnTo>
                  <a:lnTo>
                    <a:pt x="7" y="65"/>
                  </a:lnTo>
                  <a:lnTo>
                    <a:pt x="17" y="56"/>
                  </a:lnTo>
                  <a:lnTo>
                    <a:pt x="19" y="53"/>
                  </a:lnTo>
                  <a:lnTo>
                    <a:pt x="26" y="53"/>
                  </a:lnTo>
                  <a:lnTo>
                    <a:pt x="28" y="51"/>
                  </a:lnTo>
                  <a:lnTo>
                    <a:pt x="33" y="51"/>
                  </a:lnTo>
                  <a:lnTo>
                    <a:pt x="35" y="53"/>
                  </a:lnTo>
                  <a:lnTo>
                    <a:pt x="37" y="53"/>
                  </a:lnTo>
                  <a:lnTo>
                    <a:pt x="37" y="51"/>
                  </a:lnTo>
                  <a:lnTo>
                    <a:pt x="40" y="49"/>
                  </a:lnTo>
                  <a:lnTo>
                    <a:pt x="40" y="44"/>
                  </a:lnTo>
                  <a:lnTo>
                    <a:pt x="40" y="42"/>
                  </a:lnTo>
                  <a:lnTo>
                    <a:pt x="40" y="35"/>
                  </a:lnTo>
                  <a:lnTo>
                    <a:pt x="40" y="32"/>
                  </a:lnTo>
                  <a:lnTo>
                    <a:pt x="37" y="30"/>
                  </a:lnTo>
                  <a:lnTo>
                    <a:pt x="37" y="28"/>
                  </a:lnTo>
                  <a:lnTo>
                    <a:pt x="47" y="21"/>
                  </a:lnTo>
                  <a:lnTo>
                    <a:pt x="47" y="18"/>
                  </a:lnTo>
                  <a:lnTo>
                    <a:pt x="47" y="14"/>
                  </a:lnTo>
                  <a:lnTo>
                    <a:pt x="49" y="9"/>
                  </a:lnTo>
                  <a:lnTo>
                    <a:pt x="54" y="7"/>
                  </a:lnTo>
                  <a:lnTo>
                    <a:pt x="61" y="9"/>
                  </a:lnTo>
                  <a:lnTo>
                    <a:pt x="63" y="7"/>
                  </a:lnTo>
                  <a:lnTo>
                    <a:pt x="65" y="9"/>
                  </a:lnTo>
                  <a:lnTo>
                    <a:pt x="68" y="9"/>
                  </a:lnTo>
                  <a:lnTo>
                    <a:pt x="72" y="7"/>
                  </a:lnTo>
                  <a:lnTo>
                    <a:pt x="82" y="4"/>
                  </a:lnTo>
                  <a:lnTo>
                    <a:pt x="86" y="7"/>
                  </a:lnTo>
                  <a:lnTo>
                    <a:pt x="91" y="14"/>
                  </a:lnTo>
                  <a:lnTo>
                    <a:pt x="96" y="14"/>
                  </a:lnTo>
                  <a:lnTo>
                    <a:pt x="107" y="9"/>
                  </a:lnTo>
                  <a:lnTo>
                    <a:pt x="107" y="7"/>
                  </a:lnTo>
                  <a:lnTo>
                    <a:pt x="110" y="4"/>
                  </a:lnTo>
                  <a:lnTo>
                    <a:pt x="112" y="4"/>
                  </a:lnTo>
                  <a:lnTo>
                    <a:pt x="114" y="9"/>
                  </a:lnTo>
                  <a:lnTo>
                    <a:pt x="117" y="7"/>
                  </a:lnTo>
                  <a:lnTo>
                    <a:pt x="119" y="4"/>
                  </a:lnTo>
                  <a:lnTo>
                    <a:pt x="119" y="0"/>
                  </a:lnTo>
                  <a:lnTo>
                    <a:pt x="121" y="0"/>
                  </a:lnTo>
                  <a:lnTo>
                    <a:pt x="124" y="2"/>
                  </a:lnTo>
                  <a:lnTo>
                    <a:pt x="126" y="0"/>
                  </a:lnTo>
                  <a:lnTo>
                    <a:pt x="131" y="2"/>
                  </a:lnTo>
                  <a:lnTo>
                    <a:pt x="133" y="2"/>
                  </a:lnTo>
                  <a:lnTo>
                    <a:pt x="135" y="4"/>
                  </a:lnTo>
                  <a:lnTo>
                    <a:pt x="135" y="7"/>
                  </a:lnTo>
                  <a:lnTo>
                    <a:pt x="138" y="7"/>
                  </a:lnTo>
                  <a:lnTo>
                    <a:pt x="140" y="7"/>
                  </a:lnTo>
                  <a:lnTo>
                    <a:pt x="142" y="9"/>
                  </a:lnTo>
                  <a:lnTo>
                    <a:pt x="142" y="14"/>
                  </a:lnTo>
                  <a:lnTo>
                    <a:pt x="147" y="18"/>
                  </a:lnTo>
                  <a:lnTo>
                    <a:pt x="149" y="18"/>
                  </a:lnTo>
                  <a:lnTo>
                    <a:pt x="149" y="16"/>
                  </a:lnTo>
                  <a:lnTo>
                    <a:pt x="154" y="16"/>
                  </a:lnTo>
                  <a:lnTo>
                    <a:pt x="154" y="18"/>
                  </a:lnTo>
                  <a:lnTo>
                    <a:pt x="154" y="25"/>
                  </a:lnTo>
                  <a:lnTo>
                    <a:pt x="156" y="25"/>
                  </a:lnTo>
                  <a:lnTo>
                    <a:pt x="158" y="25"/>
                  </a:lnTo>
                  <a:lnTo>
                    <a:pt x="158" y="23"/>
                  </a:lnTo>
                  <a:lnTo>
                    <a:pt x="156" y="16"/>
                  </a:lnTo>
                  <a:lnTo>
                    <a:pt x="156" y="14"/>
                  </a:lnTo>
                  <a:lnTo>
                    <a:pt x="158" y="14"/>
                  </a:lnTo>
                  <a:lnTo>
                    <a:pt x="161" y="14"/>
                  </a:lnTo>
                  <a:lnTo>
                    <a:pt x="161" y="16"/>
                  </a:lnTo>
                  <a:lnTo>
                    <a:pt x="161" y="18"/>
                  </a:lnTo>
                  <a:lnTo>
                    <a:pt x="163" y="18"/>
                  </a:lnTo>
                  <a:lnTo>
                    <a:pt x="165" y="16"/>
                  </a:lnTo>
                  <a:lnTo>
                    <a:pt x="168" y="16"/>
                  </a:lnTo>
                  <a:lnTo>
                    <a:pt x="168" y="16"/>
                  </a:lnTo>
                  <a:lnTo>
                    <a:pt x="170" y="16"/>
                  </a:lnTo>
                  <a:lnTo>
                    <a:pt x="170" y="23"/>
                  </a:lnTo>
                  <a:lnTo>
                    <a:pt x="175" y="23"/>
                  </a:lnTo>
                  <a:lnTo>
                    <a:pt x="175" y="23"/>
                  </a:lnTo>
                  <a:lnTo>
                    <a:pt x="186" y="21"/>
                  </a:lnTo>
                  <a:lnTo>
                    <a:pt x="186" y="21"/>
                  </a:lnTo>
                  <a:lnTo>
                    <a:pt x="189" y="18"/>
                  </a:lnTo>
                  <a:lnTo>
                    <a:pt x="193" y="16"/>
                  </a:lnTo>
                  <a:lnTo>
                    <a:pt x="196" y="18"/>
                  </a:lnTo>
                  <a:lnTo>
                    <a:pt x="203" y="21"/>
                  </a:lnTo>
                  <a:lnTo>
                    <a:pt x="210" y="18"/>
                  </a:lnTo>
                  <a:lnTo>
                    <a:pt x="214" y="23"/>
                  </a:lnTo>
                  <a:lnTo>
                    <a:pt x="221" y="23"/>
                  </a:lnTo>
                  <a:lnTo>
                    <a:pt x="224" y="23"/>
                  </a:lnTo>
                  <a:lnTo>
                    <a:pt x="226" y="25"/>
                  </a:lnTo>
                  <a:lnTo>
                    <a:pt x="235" y="25"/>
                  </a:lnTo>
                  <a:lnTo>
                    <a:pt x="240" y="28"/>
                  </a:lnTo>
                  <a:lnTo>
                    <a:pt x="240" y="21"/>
                  </a:lnTo>
                  <a:lnTo>
                    <a:pt x="242" y="18"/>
                  </a:lnTo>
                  <a:lnTo>
                    <a:pt x="245" y="16"/>
                  </a:lnTo>
                  <a:lnTo>
                    <a:pt x="247" y="16"/>
                  </a:lnTo>
                  <a:lnTo>
                    <a:pt x="249" y="14"/>
                  </a:lnTo>
                  <a:lnTo>
                    <a:pt x="249" y="14"/>
                  </a:lnTo>
                  <a:lnTo>
                    <a:pt x="249" y="14"/>
                  </a:lnTo>
                  <a:lnTo>
                    <a:pt x="249" y="14"/>
                  </a:lnTo>
                  <a:close/>
                </a:path>
              </a:pathLst>
            </a:custGeom>
            <a:solidFill>
              <a:srgbClr val="104F75"/>
            </a:solidFill>
            <a:ln w="317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pic>
        <p:nvPicPr>
          <p:cNvPr id="54" name="Graphic 53" descr="Professor male with solid fill">
            <a:extLst>
              <a:ext uri="{FF2B5EF4-FFF2-40B4-BE49-F238E27FC236}">
                <a16:creationId xmlns:a16="http://schemas.microsoft.com/office/drawing/2014/main" id="{1A07B7BC-89C9-BB2C-1CBB-A6141669936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582112" y="1243292"/>
            <a:ext cx="656172" cy="656172"/>
          </a:xfrm>
          <a:prstGeom prst="rect">
            <a:avLst/>
          </a:prstGeom>
        </p:spPr>
      </p:pic>
      <p:sp>
        <p:nvSpPr>
          <p:cNvPr id="2" name="Oval 1">
            <a:extLst>
              <a:ext uri="{FF2B5EF4-FFF2-40B4-BE49-F238E27FC236}">
                <a16:creationId xmlns:a16="http://schemas.microsoft.com/office/drawing/2014/main" id="{9480DAB7-432B-0CFE-53C3-8F985B013C29}"/>
              </a:ext>
            </a:extLst>
          </p:cNvPr>
          <p:cNvSpPr/>
          <p:nvPr/>
        </p:nvSpPr>
        <p:spPr>
          <a:xfrm>
            <a:off x="421404" y="3580789"/>
            <a:ext cx="2523853" cy="2523853"/>
          </a:xfrm>
          <a:prstGeom prst="ellipse">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44546A"/>
                </a:solidFill>
                <a:latin typeface="Tahoma" panose="020B0604030504040204" pitchFamily="34" charset="0"/>
                <a:ea typeface="Tahoma" panose="020B0604030504040204" pitchFamily="34" charset="0"/>
                <a:cs typeface="Tahoma" panose="020B0604030504040204" pitchFamily="34" charset="0"/>
              </a:rPr>
              <a:t>In 2024-2025, the</a:t>
            </a:r>
            <a:r>
              <a:rPr kumimoji="0" lang="en-GB" sz="1600" b="0"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 total budget to deliver our work was £205m.</a:t>
            </a:r>
          </a:p>
        </p:txBody>
      </p:sp>
      <p:sp>
        <p:nvSpPr>
          <p:cNvPr id="3" name="TextBox 2">
            <a:extLst>
              <a:ext uri="{FF2B5EF4-FFF2-40B4-BE49-F238E27FC236}">
                <a16:creationId xmlns:a16="http://schemas.microsoft.com/office/drawing/2014/main" id="{F1AB943C-1512-AF30-C795-FAD4F1C678DD}"/>
              </a:ext>
            </a:extLst>
          </p:cNvPr>
          <p:cNvSpPr txBox="1"/>
          <p:nvPr/>
        </p:nvSpPr>
        <p:spPr bwMode="auto">
          <a:xfrm>
            <a:off x="838800" y="6509397"/>
            <a:ext cx="603884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85725" marR="0" lvl="0" indent="0" algn="l" defTabSz="914400" rtl="0" eaLnBrk="1" fontAlgn="auto" latinLnBrk="0" hangingPunct="1">
              <a:lnSpc>
                <a:spcPct val="100000"/>
              </a:lnSpc>
              <a:spcBef>
                <a:spcPts val="0"/>
              </a:spcBef>
              <a:spcAft>
                <a:spcPts val="900"/>
              </a:spcAft>
              <a:buClr>
                <a:srgbClr val="44546A"/>
              </a:buClr>
              <a:buSzTx/>
              <a:buFontTx/>
              <a:buNone/>
              <a:tabLst/>
              <a:defRPr/>
            </a:pPr>
            <a:r>
              <a:rPr kumimoji="0" lang="en-GB" sz="1200" b="0" i="0" u="none" strike="noStrike" kern="0" cap="none" spc="0" normalizeH="0" baseline="0" noProof="0" dirty="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44% of primary have nursery/2YO provision and 60% of secondary have sixth form.</a:t>
            </a:r>
          </a:p>
        </p:txBody>
      </p:sp>
      <p:sp>
        <p:nvSpPr>
          <p:cNvPr id="9" name="Slide Number Placeholder 3">
            <a:extLst>
              <a:ext uri="{FF2B5EF4-FFF2-40B4-BE49-F238E27FC236}">
                <a16:creationId xmlns:a16="http://schemas.microsoft.com/office/drawing/2014/main" id="{48A161ED-026C-0E45-E1CF-DDCE2A24FDB4}"/>
              </a:ext>
            </a:extLst>
          </p:cNvPr>
          <p:cNvSpPr txBox="1">
            <a:spLocks/>
          </p:cNvSpPr>
          <p:nvPr/>
        </p:nvSpPr>
        <p:spPr>
          <a:xfrm>
            <a:off x="10937802" y="6370793"/>
            <a:ext cx="1068387"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F4C8201-D8A8-417D-8A18-42E93E6C5D44}" type="slidenum">
              <a:rPr lang="en-GB" smtClean="0"/>
              <a:pPr>
                <a:defRPr/>
              </a:pPr>
              <a:t>3</a:t>
            </a:fld>
            <a:endParaRPr lang="en-GB" dirty="0"/>
          </a:p>
        </p:txBody>
      </p:sp>
    </p:spTree>
    <p:extLst>
      <p:ext uri="{BB962C8B-B14F-4D97-AF65-F5344CB8AC3E}">
        <p14:creationId xmlns:p14="http://schemas.microsoft.com/office/powerpoint/2010/main" val="40078542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btfpColumnHeaderBox838172">
            <a:extLst>
              <a:ext uri="{FF2B5EF4-FFF2-40B4-BE49-F238E27FC236}">
                <a16:creationId xmlns:a16="http://schemas.microsoft.com/office/drawing/2014/main" id="{83753B32-7A4D-4676-9033-DE96A64DE73B}"/>
              </a:ext>
            </a:extLst>
          </p:cNvPr>
          <p:cNvGrpSpPr/>
          <p:nvPr>
            <p:custDataLst>
              <p:tags r:id="rId1"/>
            </p:custDataLst>
          </p:nvPr>
        </p:nvGrpSpPr>
        <p:grpSpPr>
          <a:xfrm>
            <a:off x="521335" y="1541415"/>
            <a:ext cx="4954422" cy="318997"/>
            <a:chOff x="-15939" y="-920089"/>
            <a:chExt cx="5495529" cy="364582"/>
          </a:xfrm>
        </p:grpSpPr>
        <p:sp>
          <p:nvSpPr>
            <p:cNvPr id="6" name="btfpColumnHeaderBoxText838172">
              <a:extLst>
                <a:ext uri="{FF2B5EF4-FFF2-40B4-BE49-F238E27FC236}">
                  <a16:creationId xmlns:a16="http://schemas.microsoft.com/office/drawing/2014/main" id="{550573E1-A3F9-408E-A618-859A08DED18C}"/>
                </a:ext>
              </a:extLst>
            </p:cNvPr>
            <p:cNvSpPr txBox="1"/>
            <p:nvPr>
              <p:custDataLst>
                <p:tags r:id="rId2"/>
              </p:custDataLst>
            </p:nvPr>
          </p:nvSpPr>
          <p:spPr bwMode="gray">
            <a:xfrm>
              <a:off x="-15939" y="-920089"/>
              <a:ext cx="5495529" cy="36458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Timeline of events</a:t>
              </a:r>
            </a:p>
          </p:txBody>
        </p:sp>
        <p:cxnSp>
          <p:nvCxnSpPr>
            <p:cNvPr id="7" name="btfpColumnHeaderBoxLine838172">
              <a:extLst>
                <a:ext uri="{FF2B5EF4-FFF2-40B4-BE49-F238E27FC236}">
                  <a16:creationId xmlns:a16="http://schemas.microsoft.com/office/drawing/2014/main" id="{2D752BD9-38AE-4702-AF5C-47239582595A}"/>
                </a:ext>
              </a:extLst>
            </p:cNvPr>
            <p:cNvCxnSpPr/>
            <p:nvPr>
              <p:custDataLst>
                <p:tags r:id="rId3"/>
              </p:custDataLst>
            </p:nvPr>
          </p:nvCxnSpPr>
          <p:spPr bwMode="gray">
            <a:xfrm>
              <a:off x="-15939" y="-555507"/>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 name="Title 11">
            <a:extLst>
              <a:ext uri="{FF2B5EF4-FFF2-40B4-BE49-F238E27FC236}">
                <a16:creationId xmlns:a16="http://schemas.microsoft.com/office/drawing/2014/main" id="{E43BC7F2-B02C-46B9-9EFE-801E2713D8D0}"/>
              </a:ext>
            </a:extLst>
          </p:cNvPr>
          <p:cNvSpPr>
            <a:spLocks noGrp="1"/>
          </p:cNvSpPr>
          <p:nvPr>
            <p:ph type="title"/>
          </p:nvPr>
        </p:nvSpPr>
        <p:spPr>
          <a:xfrm>
            <a:off x="460800" y="205200"/>
            <a:ext cx="9299869" cy="1325563"/>
          </a:xfrm>
        </p:spPr>
        <p:txBody>
          <a:bodyPr>
            <a:normAutofit/>
          </a:bodyPr>
          <a:lstStyle/>
          <a:p>
            <a:r>
              <a:rPr lang="en-GB" sz="2600" dirty="0">
                <a:solidFill>
                  <a:schemeClr val="accent5">
                    <a:lumMod val="60000"/>
                    <a:lumOff val="40000"/>
                  </a:schemeClr>
                </a:solidFill>
              </a:rPr>
              <a:t>Crisis of confidence: </a:t>
            </a:r>
            <a:r>
              <a:rPr lang="en-GB" sz="2600" dirty="0">
                <a:solidFill>
                  <a:schemeClr val="tx2"/>
                </a:solidFill>
              </a:rPr>
              <a:t>Tragic death of Ruth Perry in 2023</a:t>
            </a:r>
          </a:p>
        </p:txBody>
      </p:sp>
      <p:sp>
        <p:nvSpPr>
          <p:cNvPr id="32" name="TextBox 31">
            <a:extLst>
              <a:ext uri="{FF2B5EF4-FFF2-40B4-BE49-F238E27FC236}">
                <a16:creationId xmlns:a16="http://schemas.microsoft.com/office/drawing/2014/main" id="{229AA9AC-2B27-93D9-188F-79278787EA30}"/>
              </a:ext>
            </a:extLst>
          </p:cNvPr>
          <p:cNvSpPr txBox="1"/>
          <p:nvPr/>
        </p:nvSpPr>
        <p:spPr>
          <a:xfrm>
            <a:off x="0" y="2023458"/>
            <a:ext cx="5395380" cy="3535904"/>
          </a:xfrm>
          <a:prstGeom prst="rect">
            <a:avLst/>
          </a:prstGeom>
          <a:noFill/>
        </p:spPr>
        <p:txBody>
          <a:bodyPr wrap="square" lIns="91440" tIns="45720" rIns="91440" bIns="45720" anchor="t">
            <a:spAutoFit/>
          </a:bodyPr>
          <a:lstStyle/>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lang="en-GB" sz="1400" dirty="0">
                <a:solidFill>
                  <a:prstClr val="black"/>
                </a:solidFill>
                <a:latin typeface="Tahoma"/>
                <a:ea typeface="Calibri"/>
                <a:cs typeface="Tahoma"/>
              </a:rPr>
              <a:t>November 2022: Inspection of Caversham Primary School results in an ‘inadequate’ judgement due to safeguarding failures. </a:t>
            </a:r>
            <a:br>
              <a:rPr kumimoji="0" lang="en-GB" sz="1400" b="0" i="0" u="none" strike="noStrike" kern="1200" cap="none" spc="0" normalizeH="0" baseline="0" noProof="0" dirty="0">
                <a:ln>
                  <a:noFill/>
                </a:ln>
                <a:solidFill>
                  <a:prstClr val="black"/>
                </a:solidFill>
                <a:effectLst/>
                <a:uLnTx/>
                <a:uFillTx/>
                <a:latin typeface="Tahoma"/>
                <a:ea typeface="Calibri"/>
                <a:cs typeface="Tahoma"/>
              </a:rPr>
            </a:b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Tahoma"/>
                <a:ea typeface="Calibri"/>
                <a:cs typeface="Tahoma"/>
              </a:rPr>
              <a:t>January 2023: </a:t>
            </a:r>
            <a:r>
              <a:rPr lang="en-GB" sz="1400" dirty="0">
                <a:solidFill>
                  <a:prstClr val="black"/>
                </a:solidFill>
                <a:latin typeface="Tahoma"/>
                <a:ea typeface="Calibri"/>
                <a:cs typeface="Tahoma"/>
              </a:rPr>
              <a:t>Ruth Perry, H</a:t>
            </a:r>
            <a:r>
              <a:rPr kumimoji="0" lang="en-GB" sz="1400" b="0" i="0" u="none" strike="noStrike" kern="1200" cap="none" spc="0" normalizeH="0" baseline="0" noProof="0" dirty="0" err="1">
                <a:ln>
                  <a:noFill/>
                </a:ln>
                <a:solidFill>
                  <a:prstClr val="black"/>
                </a:solidFill>
                <a:effectLst/>
                <a:uLnTx/>
                <a:uFillTx/>
                <a:latin typeface="Tahoma"/>
                <a:ea typeface="Calibri"/>
                <a:cs typeface="Tahoma"/>
              </a:rPr>
              <a:t>ead</a:t>
            </a:r>
            <a:r>
              <a:rPr kumimoji="0" lang="en-GB" sz="1400" b="0" i="0" u="none" strike="noStrike" kern="1200" cap="none" spc="0" normalizeH="0" baseline="0" noProof="0" dirty="0">
                <a:ln>
                  <a:noFill/>
                </a:ln>
                <a:solidFill>
                  <a:prstClr val="black"/>
                </a:solidFill>
                <a:effectLst/>
                <a:uLnTx/>
                <a:uFillTx/>
                <a:latin typeface="Tahoma"/>
                <a:ea typeface="Calibri"/>
                <a:cs typeface="Tahoma"/>
              </a:rPr>
              <a:t> </a:t>
            </a:r>
            <a:r>
              <a:rPr lang="en-GB" sz="1400" dirty="0">
                <a:solidFill>
                  <a:prstClr val="black"/>
                </a:solidFill>
                <a:latin typeface="Tahoma"/>
                <a:ea typeface="Calibri"/>
                <a:cs typeface="Tahoma"/>
              </a:rPr>
              <a:t>T</a:t>
            </a:r>
            <a:r>
              <a:rPr kumimoji="0" lang="en-GB" sz="1400" b="0" i="0" u="none" strike="noStrike" kern="1200" cap="none" spc="0" normalizeH="0" baseline="0" noProof="0" dirty="0" err="1">
                <a:ln>
                  <a:noFill/>
                </a:ln>
                <a:solidFill>
                  <a:prstClr val="black"/>
                </a:solidFill>
                <a:effectLst/>
                <a:uLnTx/>
                <a:uFillTx/>
                <a:latin typeface="Tahoma"/>
                <a:ea typeface="Calibri"/>
                <a:cs typeface="Tahoma"/>
              </a:rPr>
              <a:t>eacher</a:t>
            </a:r>
            <a:r>
              <a:rPr kumimoji="0" lang="en-GB" sz="1400" b="0" i="0" u="none" strike="noStrike" kern="1200" cap="none" spc="0" normalizeH="0" baseline="0" noProof="0" dirty="0">
                <a:ln>
                  <a:noFill/>
                </a:ln>
                <a:solidFill>
                  <a:prstClr val="black"/>
                </a:solidFill>
                <a:effectLst/>
                <a:uLnTx/>
                <a:uFillTx/>
                <a:latin typeface="Tahoma"/>
                <a:ea typeface="Calibri"/>
                <a:cs typeface="Tahoma"/>
              </a:rPr>
              <a:t> of Caversham Primary, passes. </a:t>
            </a:r>
          </a:p>
          <a:p>
            <a:pPr marR="0" lvl="1" algn="l" defTabSz="914400" rtl="0" eaLnBrk="1" fontAlgn="auto" latinLnBrk="0" hangingPunct="1">
              <a:lnSpc>
                <a:spcPct val="115000"/>
              </a:lnSpc>
              <a:spcBef>
                <a:spcPts val="0"/>
              </a:spcBef>
              <a:spcAft>
                <a:spcPts val="0"/>
              </a:spcAft>
              <a:buClrTx/>
              <a:buSzTx/>
              <a:tabLst/>
              <a:defRPr/>
            </a:pPr>
            <a:endParaRPr lang="en-GB" sz="1400" dirty="0">
              <a:solidFill>
                <a:prstClr val="black"/>
              </a:solidFill>
              <a:latin typeface="Tahoma"/>
              <a:ea typeface="Calibri"/>
              <a:cs typeface="Tahoma"/>
            </a:endParaRP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Tahoma"/>
                <a:ea typeface="Calibri"/>
                <a:cs typeface="Tahoma"/>
              </a:rPr>
              <a:t>Autumn 2023: Coronial inquest into the circumstance of death. </a:t>
            </a: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endParaRPr lang="en-GB" sz="1400" dirty="0">
              <a:solidFill>
                <a:prstClr val="black"/>
              </a:solidFill>
              <a:latin typeface="Tahoma"/>
              <a:ea typeface="Calibri"/>
              <a:cs typeface="Tahoma"/>
            </a:endParaRP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Tahoma"/>
                <a:ea typeface="Calibri"/>
                <a:cs typeface="Tahoma"/>
              </a:rPr>
              <a:t>December 2023: Regulation 28 Report to Prevent Deaths issued, identifying a risk to life unless changes were made by Ofsted.  </a:t>
            </a:r>
            <a:br>
              <a:rPr kumimoji="0" lang="en-GB" sz="1400" b="0" i="0" u="none" strike="noStrike" kern="1200" cap="none" spc="0" normalizeH="0" baseline="0" noProof="0" dirty="0">
                <a:ln>
                  <a:noFill/>
                </a:ln>
                <a:solidFill>
                  <a:prstClr val="black"/>
                </a:solidFill>
                <a:effectLst/>
                <a:uLnTx/>
                <a:uFillTx/>
                <a:latin typeface="Tahoma"/>
                <a:ea typeface="Calibri"/>
                <a:cs typeface="Tahoma"/>
              </a:rPr>
            </a:b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p:txBody>
      </p:sp>
      <p:sp>
        <p:nvSpPr>
          <p:cNvPr id="8" name="Slide Number Placeholder 3">
            <a:extLst>
              <a:ext uri="{FF2B5EF4-FFF2-40B4-BE49-F238E27FC236}">
                <a16:creationId xmlns:a16="http://schemas.microsoft.com/office/drawing/2014/main" id="{8D7357FB-8883-6958-C000-1599ED33CFD3}"/>
              </a:ext>
            </a:extLst>
          </p:cNvPr>
          <p:cNvSpPr txBox="1">
            <a:spLocks/>
          </p:cNvSpPr>
          <p:nvPr/>
        </p:nvSpPr>
        <p:spPr>
          <a:xfrm>
            <a:off x="10937802" y="6370793"/>
            <a:ext cx="1068387"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F4C8201-D8A8-417D-8A18-42E93E6C5D44}" type="slidenum">
              <a:rPr lang="en-GB" smtClean="0"/>
              <a:pPr>
                <a:defRPr/>
              </a:pPr>
              <a:t>4</a:t>
            </a:fld>
            <a:endParaRPr lang="en-GB"/>
          </a:p>
        </p:txBody>
      </p:sp>
      <p:pic>
        <p:nvPicPr>
          <p:cNvPr id="9" name="Picture 8">
            <a:extLst>
              <a:ext uri="{FF2B5EF4-FFF2-40B4-BE49-F238E27FC236}">
                <a16:creationId xmlns:a16="http://schemas.microsoft.com/office/drawing/2014/main" id="{0E5F77BF-5C91-6F84-130B-FD4C154DEE06}"/>
              </a:ext>
            </a:extLst>
          </p:cNvPr>
          <p:cNvPicPr>
            <a:picLocks noChangeAspect="1"/>
          </p:cNvPicPr>
          <p:nvPr/>
        </p:nvPicPr>
        <p:blipFill>
          <a:blip r:embed="rId6"/>
          <a:stretch>
            <a:fillRect/>
          </a:stretch>
        </p:blipFill>
        <p:spPr>
          <a:xfrm>
            <a:off x="5863250" y="1319696"/>
            <a:ext cx="3664375" cy="3162248"/>
          </a:xfrm>
          <a:prstGeom prst="rect">
            <a:avLst/>
          </a:prstGeom>
        </p:spPr>
      </p:pic>
      <p:pic>
        <p:nvPicPr>
          <p:cNvPr id="16" name="Picture 15">
            <a:extLst>
              <a:ext uri="{FF2B5EF4-FFF2-40B4-BE49-F238E27FC236}">
                <a16:creationId xmlns:a16="http://schemas.microsoft.com/office/drawing/2014/main" id="{CB0CCB31-6017-31DE-B3F2-57299DED86F5}"/>
              </a:ext>
            </a:extLst>
          </p:cNvPr>
          <p:cNvPicPr>
            <a:picLocks noChangeAspect="1"/>
          </p:cNvPicPr>
          <p:nvPr/>
        </p:nvPicPr>
        <p:blipFill>
          <a:blip r:embed="rId7"/>
          <a:stretch>
            <a:fillRect/>
          </a:stretch>
        </p:blipFill>
        <p:spPr>
          <a:xfrm>
            <a:off x="5763648" y="5272240"/>
            <a:ext cx="4879046" cy="1028823"/>
          </a:xfrm>
          <a:prstGeom prst="rect">
            <a:avLst/>
          </a:prstGeom>
        </p:spPr>
      </p:pic>
      <p:pic>
        <p:nvPicPr>
          <p:cNvPr id="23" name="Picture 22">
            <a:extLst>
              <a:ext uri="{FF2B5EF4-FFF2-40B4-BE49-F238E27FC236}">
                <a16:creationId xmlns:a16="http://schemas.microsoft.com/office/drawing/2014/main" id="{FE58605D-2213-6E4E-CEC9-B659FFCB3905}"/>
              </a:ext>
            </a:extLst>
          </p:cNvPr>
          <p:cNvPicPr>
            <a:picLocks noChangeAspect="1"/>
          </p:cNvPicPr>
          <p:nvPr/>
        </p:nvPicPr>
        <p:blipFill>
          <a:blip r:embed="rId8"/>
          <a:stretch>
            <a:fillRect/>
          </a:stretch>
        </p:blipFill>
        <p:spPr>
          <a:xfrm>
            <a:off x="7325661" y="4169733"/>
            <a:ext cx="4491784" cy="1157925"/>
          </a:xfrm>
          <a:prstGeom prst="rect">
            <a:avLst/>
          </a:prstGeom>
        </p:spPr>
      </p:pic>
    </p:spTree>
    <p:extLst>
      <p:ext uri="{BB962C8B-B14F-4D97-AF65-F5344CB8AC3E}">
        <p14:creationId xmlns:p14="http://schemas.microsoft.com/office/powerpoint/2010/main" val="1719109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B712B1-B864-6F94-F65A-DB6325D50E0C}"/>
            </a:ext>
          </a:extLst>
        </p:cNvPr>
        <p:cNvGrpSpPr/>
        <p:nvPr/>
      </p:nvGrpSpPr>
      <p:grpSpPr>
        <a:xfrm>
          <a:off x="0" y="0"/>
          <a:ext cx="0" cy="0"/>
          <a:chOff x="0" y="0"/>
          <a:chExt cx="0" cy="0"/>
        </a:xfrm>
      </p:grpSpPr>
      <p:grpSp>
        <p:nvGrpSpPr>
          <p:cNvPr id="5" name="btfpColumnHeaderBox838172">
            <a:extLst>
              <a:ext uri="{FF2B5EF4-FFF2-40B4-BE49-F238E27FC236}">
                <a16:creationId xmlns:a16="http://schemas.microsoft.com/office/drawing/2014/main" id="{14A8133A-5C90-305A-975D-C0750FD28D5B}"/>
              </a:ext>
            </a:extLst>
          </p:cNvPr>
          <p:cNvGrpSpPr/>
          <p:nvPr>
            <p:custDataLst>
              <p:tags r:id="rId1"/>
            </p:custDataLst>
          </p:nvPr>
        </p:nvGrpSpPr>
        <p:grpSpPr>
          <a:xfrm>
            <a:off x="521335" y="1555269"/>
            <a:ext cx="4954422" cy="318997"/>
            <a:chOff x="-15939" y="-920089"/>
            <a:chExt cx="5495529" cy="364582"/>
          </a:xfrm>
        </p:grpSpPr>
        <p:sp>
          <p:nvSpPr>
            <p:cNvPr id="6" name="btfpColumnHeaderBoxText838172">
              <a:extLst>
                <a:ext uri="{FF2B5EF4-FFF2-40B4-BE49-F238E27FC236}">
                  <a16:creationId xmlns:a16="http://schemas.microsoft.com/office/drawing/2014/main" id="{58063D00-E9C6-73C8-090B-0F467BA08FC7}"/>
                </a:ext>
              </a:extLst>
            </p:cNvPr>
            <p:cNvSpPr txBox="1"/>
            <p:nvPr>
              <p:custDataLst>
                <p:tags r:id="rId2"/>
              </p:custDataLst>
            </p:nvPr>
          </p:nvSpPr>
          <p:spPr bwMode="gray">
            <a:xfrm>
              <a:off x="-15939" y="-920089"/>
              <a:ext cx="5495529" cy="36458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Timeline of events</a:t>
              </a:r>
            </a:p>
          </p:txBody>
        </p:sp>
        <p:cxnSp>
          <p:nvCxnSpPr>
            <p:cNvPr id="7" name="btfpColumnHeaderBoxLine838172">
              <a:extLst>
                <a:ext uri="{FF2B5EF4-FFF2-40B4-BE49-F238E27FC236}">
                  <a16:creationId xmlns:a16="http://schemas.microsoft.com/office/drawing/2014/main" id="{337A62F9-2BD6-07CA-9D15-CBA762F9FFC6}"/>
                </a:ext>
              </a:extLst>
            </p:cNvPr>
            <p:cNvCxnSpPr/>
            <p:nvPr>
              <p:custDataLst>
                <p:tags r:id="rId3"/>
              </p:custDataLst>
            </p:nvPr>
          </p:nvCxnSpPr>
          <p:spPr bwMode="gray">
            <a:xfrm>
              <a:off x="-15939" y="-555507"/>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 name="Title 11">
            <a:extLst>
              <a:ext uri="{FF2B5EF4-FFF2-40B4-BE49-F238E27FC236}">
                <a16:creationId xmlns:a16="http://schemas.microsoft.com/office/drawing/2014/main" id="{9B391AF4-C8BF-9EB4-578E-34ED25BB16CE}"/>
              </a:ext>
            </a:extLst>
          </p:cNvPr>
          <p:cNvSpPr>
            <a:spLocks noGrp="1"/>
          </p:cNvSpPr>
          <p:nvPr>
            <p:ph type="title"/>
          </p:nvPr>
        </p:nvSpPr>
        <p:spPr>
          <a:xfrm>
            <a:off x="460800" y="205200"/>
            <a:ext cx="9299869" cy="1325563"/>
          </a:xfrm>
        </p:spPr>
        <p:txBody>
          <a:bodyPr>
            <a:normAutofit/>
          </a:bodyPr>
          <a:lstStyle/>
          <a:p>
            <a:r>
              <a:rPr lang="en-GB" sz="2600" dirty="0">
                <a:solidFill>
                  <a:schemeClr val="accent5">
                    <a:lumMod val="60000"/>
                    <a:lumOff val="40000"/>
                  </a:schemeClr>
                </a:solidFill>
              </a:rPr>
              <a:t>Reform strategy part 1: </a:t>
            </a:r>
            <a:r>
              <a:rPr lang="en-GB" sz="2600" dirty="0">
                <a:solidFill>
                  <a:schemeClr val="tx2"/>
                </a:solidFill>
              </a:rPr>
              <a:t>Control through pace</a:t>
            </a:r>
          </a:p>
        </p:txBody>
      </p:sp>
      <p:sp>
        <p:nvSpPr>
          <p:cNvPr id="32" name="TextBox 31">
            <a:extLst>
              <a:ext uri="{FF2B5EF4-FFF2-40B4-BE49-F238E27FC236}">
                <a16:creationId xmlns:a16="http://schemas.microsoft.com/office/drawing/2014/main" id="{E6263A88-A98F-D3B5-01B4-476DCDAFA114}"/>
              </a:ext>
            </a:extLst>
          </p:cNvPr>
          <p:cNvSpPr txBox="1"/>
          <p:nvPr/>
        </p:nvSpPr>
        <p:spPr>
          <a:xfrm>
            <a:off x="0" y="2035860"/>
            <a:ext cx="5395380" cy="4526945"/>
          </a:xfrm>
          <a:prstGeom prst="rect">
            <a:avLst/>
          </a:prstGeom>
          <a:noFill/>
        </p:spPr>
        <p:txBody>
          <a:bodyPr wrap="square" lIns="91440" tIns="45720" rIns="91440" bIns="45720" anchor="t">
            <a:spAutoFit/>
          </a:bodyPr>
          <a:lstStyle/>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lang="en-GB" sz="1400" dirty="0">
                <a:solidFill>
                  <a:prstClr val="black"/>
                </a:solidFill>
                <a:latin typeface="Tahoma"/>
                <a:ea typeface="Calibri"/>
                <a:cs typeface="Tahoma"/>
              </a:rPr>
              <a:t>January 2024: Sir Martyn Oliver takes over at Ofsted, immediately announcing mental health training and a determination to work more closely with the profession.</a:t>
            </a:r>
          </a:p>
          <a:p>
            <a:pPr marR="0" lvl="1" algn="l" defTabSz="914400" rtl="0" eaLnBrk="1" fontAlgn="auto" latinLnBrk="0" hangingPunct="1">
              <a:lnSpc>
                <a:spcPct val="115000"/>
              </a:lnSpc>
              <a:spcBef>
                <a:spcPts val="0"/>
              </a:spcBef>
              <a:spcAft>
                <a:spcPts val="0"/>
              </a:spcAft>
              <a:buClrTx/>
              <a:buSzTx/>
              <a:tabLst/>
              <a:defRPr/>
            </a:pP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Tahoma"/>
                <a:ea typeface="Calibri"/>
                <a:cs typeface="Tahoma"/>
              </a:rPr>
              <a:t>January 2024: </a:t>
            </a:r>
            <a:r>
              <a:rPr lang="en-GB" sz="1400" dirty="0">
                <a:solidFill>
                  <a:prstClr val="black"/>
                </a:solidFill>
                <a:latin typeface="Tahoma"/>
                <a:ea typeface="Calibri"/>
                <a:cs typeface="Tahoma"/>
              </a:rPr>
              <a:t>Ofsted formally responds to the Preventing Future Deaths report, accepting all recommendations. </a:t>
            </a: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a:p>
            <a:pPr marR="0" lvl="1" algn="l" defTabSz="914400" rtl="0" eaLnBrk="1" fontAlgn="auto" latinLnBrk="0" hangingPunct="1">
              <a:lnSpc>
                <a:spcPct val="115000"/>
              </a:lnSpc>
              <a:spcBef>
                <a:spcPts val="0"/>
              </a:spcBef>
              <a:spcAft>
                <a:spcPts val="0"/>
              </a:spcAft>
              <a:buClrTx/>
              <a:buSzTx/>
              <a:tabLst/>
              <a:defRPr/>
            </a:pPr>
            <a:endParaRPr lang="en-GB" sz="1400" dirty="0">
              <a:solidFill>
                <a:prstClr val="black"/>
              </a:solidFill>
              <a:latin typeface="Tahoma"/>
              <a:ea typeface="Calibri"/>
              <a:cs typeface="Tahoma"/>
            </a:endParaRP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Tahoma"/>
                <a:ea typeface="Calibri"/>
                <a:cs typeface="Tahoma"/>
              </a:rPr>
              <a:t>March 2024: Big Listen consultation launched.</a:t>
            </a: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endParaRPr lang="en-GB" sz="1400" dirty="0">
              <a:solidFill>
                <a:prstClr val="black"/>
              </a:solidFill>
              <a:latin typeface="Tahoma"/>
              <a:ea typeface="Calibri"/>
              <a:cs typeface="Tahoma"/>
            </a:endParaRP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dirty="0">
                <a:ln>
                  <a:noFill/>
                </a:ln>
                <a:solidFill>
                  <a:prstClr val="black"/>
                </a:solidFill>
                <a:effectLst/>
                <a:uLnTx/>
                <a:uFillTx/>
                <a:latin typeface="Tahoma"/>
                <a:ea typeface="Calibri"/>
                <a:cs typeface="Tahoma"/>
              </a:rPr>
              <a:t>July 2024: General election results in a landslide Labour victory, with promises of removing the overall effectiveness grade. </a:t>
            </a:r>
          </a:p>
          <a:p>
            <a:pPr marR="0" lvl="1" algn="l" defTabSz="914400" rtl="0" eaLnBrk="1" fontAlgn="auto" latinLnBrk="0" hangingPunct="1">
              <a:lnSpc>
                <a:spcPct val="115000"/>
              </a:lnSpc>
              <a:spcBef>
                <a:spcPts val="0"/>
              </a:spcBef>
              <a:spcAft>
                <a:spcPts val="0"/>
              </a:spcAft>
              <a:buClrTx/>
              <a:buSzTx/>
              <a:tabLst/>
              <a:defRPr/>
            </a:pPr>
            <a:endParaRPr lang="en-GB" sz="1400" dirty="0">
              <a:solidFill>
                <a:prstClr val="black"/>
              </a:solidFill>
              <a:latin typeface="Tahoma"/>
              <a:ea typeface="Calibri"/>
              <a:cs typeface="Tahoma"/>
            </a:endParaRP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lang="en-GB" sz="1400" dirty="0">
                <a:solidFill>
                  <a:prstClr val="black"/>
                </a:solidFill>
                <a:latin typeface="Tahoma"/>
                <a:ea typeface="Calibri"/>
                <a:cs typeface="Tahoma"/>
              </a:rPr>
              <a:t>September 2024: Ofsted formally responds to the Big Listen consultation, announcing (with DfE Secretary of State) the removal of the overall effectiveness grade.</a:t>
            </a:r>
            <a:br>
              <a:rPr kumimoji="0" lang="en-GB" sz="1400" b="0" i="0" u="none" strike="noStrike" kern="1200" cap="none" spc="0" normalizeH="0" baseline="0" noProof="0" dirty="0">
                <a:ln>
                  <a:noFill/>
                </a:ln>
                <a:solidFill>
                  <a:prstClr val="black"/>
                </a:solidFill>
                <a:effectLst/>
                <a:uLnTx/>
                <a:uFillTx/>
                <a:latin typeface="Tahoma"/>
                <a:ea typeface="Calibri"/>
                <a:cs typeface="Tahoma"/>
              </a:rPr>
            </a:b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p:txBody>
      </p:sp>
      <p:sp>
        <p:nvSpPr>
          <p:cNvPr id="8" name="Slide Number Placeholder 3">
            <a:extLst>
              <a:ext uri="{FF2B5EF4-FFF2-40B4-BE49-F238E27FC236}">
                <a16:creationId xmlns:a16="http://schemas.microsoft.com/office/drawing/2014/main" id="{34CD026F-B114-0512-111A-62AFAD10EF71}"/>
              </a:ext>
            </a:extLst>
          </p:cNvPr>
          <p:cNvSpPr txBox="1">
            <a:spLocks/>
          </p:cNvSpPr>
          <p:nvPr/>
        </p:nvSpPr>
        <p:spPr>
          <a:xfrm>
            <a:off x="10937802" y="6370793"/>
            <a:ext cx="1068387"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F4C8201-D8A8-417D-8A18-42E93E6C5D44}" type="slidenum">
              <a:rPr lang="en-GB" smtClean="0"/>
              <a:pPr>
                <a:defRPr/>
              </a:pPr>
              <a:t>5</a:t>
            </a:fld>
            <a:endParaRPr lang="en-GB"/>
          </a:p>
        </p:txBody>
      </p:sp>
      <p:pic>
        <p:nvPicPr>
          <p:cNvPr id="4" name="Picture 3">
            <a:extLst>
              <a:ext uri="{FF2B5EF4-FFF2-40B4-BE49-F238E27FC236}">
                <a16:creationId xmlns:a16="http://schemas.microsoft.com/office/drawing/2014/main" id="{87D3E449-F499-6B2B-F13A-67BB4092B0C9}"/>
              </a:ext>
            </a:extLst>
          </p:cNvPr>
          <p:cNvPicPr>
            <a:picLocks noChangeAspect="1"/>
          </p:cNvPicPr>
          <p:nvPr/>
        </p:nvPicPr>
        <p:blipFill>
          <a:blip r:embed="rId6"/>
          <a:stretch>
            <a:fillRect/>
          </a:stretch>
        </p:blipFill>
        <p:spPr>
          <a:xfrm>
            <a:off x="6390895" y="1679191"/>
            <a:ext cx="5165928" cy="1428196"/>
          </a:xfrm>
          <a:prstGeom prst="rect">
            <a:avLst/>
          </a:prstGeom>
        </p:spPr>
      </p:pic>
      <p:pic>
        <p:nvPicPr>
          <p:cNvPr id="11" name="Picture 10">
            <a:extLst>
              <a:ext uri="{FF2B5EF4-FFF2-40B4-BE49-F238E27FC236}">
                <a16:creationId xmlns:a16="http://schemas.microsoft.com/office/drawing/2014/main" id="{06E1CDA6-7547-F595-3914-1ACB22D84056}"/>
              </a:ext>
            </a:extLst>
          </p:cNvPr>
          <p:cNvPicPr>
            <a:picLocks noChangeAspect="1"/>
          </p:cNvPicPr>
          <p:nvPr/>
        </p:nvPicPr>
        <p:blipFill>
          <a:blip r:embed="rId7"/>
          <a:stretch>
            <a:fillRect/>
          </a:stretch>
        </p:blipFill>
        <p:spPr>
          <a:xfrm>
            <a:off x="5819504" y="3519055"/>
            <a:ext cx="4822751" cy="1987890"/>
          </a:xfrm>
          <a:prstGeom prst="rect">
            <a:avLst/>
          </a:prstGeom>
        </p:spPr>
      </p:pic>
    </p:spTree>
    <p:extLst>
      <p:ext uri="{BB962C8B-B14F-4D97-AF65-F5344CB8AC3E}">
        <p14:creationId xmlns:p14="http://schemas.microsoft.com/office/powerpoint/2010/main" val="2179843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6331B-FEF8-6F42-F67B-75F8780706DF}"/>
            </a:ext>
          </a:extLst>
        </p:cNvPr>
        <p:cNvGrpSpPr/>
        <p:nvPr/>
      </p:nvGrpSpPr>
      <p:grpSpPr>
        <a:xfrm>
          <a:off x="0" y="0"/>
          <a:ext cx="0" cy="0"/>
          <a:chOff x="0" y="0"/>
          <a:chExt cx="0" cy="0"/>
        </a:xfrm>
      </p:grpSpPr>
      <p:grpSp>
        <p:nvGrpSpPr>
          <p:cNvPr id="5" name="btfpColumnHeaderBox838172">
            <a:extLst>
              <a:ext uri="{FF2B5EF4-FFF2-40B4-BE49-F238E27FC236}">
                <a16:creationId xmlns:a16="http://schemas.microsoft.com/office/drawing/2014/main" id="{89816647-17CD-59C6-45FC-CF4486A7CB26}"/>
              </a:ext>
            </a:extLst>
          </p:cNvPr>
          <p:cNvGrpSpPr/>
          <p:nvPr>
            <p:custDataLst>
              <p:tags r:id="rId1"/>
            </p:custDataLst>
          </p:nvPr>
        </p:nvGrpSpPr>
        <p:grpSpPr>
          <a:xfrm>
            <a:off x="533106" y="1555200"/>
            <a:ext cx="4954422" cy="829929"/>
            <a:chOff x="-15939" y="-1036917"/>
            <a:chExt cx="5495529" cy="948526"/>
          </a:xfrm>
        </p:grpSpPr>
        <p:sp>
          <p:nvSpPr>
            <p:cNvPr id="6" name="btfpColumnHeaderBoxText838172">
              <a:extLst>
                <a:ext uri="{FF2B5EF4-FFF2-40B4-BE49-F238E27FC236}">
                  <a16:creationId xmlns:a16="http://schemas.microsoft.com/office/drawing/2014/main" id="{A5FFB17B-28E1-27EB-FAFE-10117E6A76E7}"/>
                </a:ext>
              </a:extLst>
            </p:cNvPr>
            <p:cNvSpPr txBox="1"/>
            <p:nvPr>
              <p:custDataLst>
                <p:tags r:id="rId2"/>
              </p:custDataLst>
            </p:nvPr>
          </p:nvSpPr>
          <p:spPr bwMode="gray">
            <a:xfrm>
              <a:off x="-15939" y="-1036917"/>
              <a:ext cx="5495529" cy="927395"/>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The Big Listen, which aimed to hear feedback, accept criticism and </a:t>
              </a:r>
              <a:r>
                <a:rPr lang="en-GB" sz="1600" b="1" dirty="0">
                  <a:solidFill>
                    <a:srgbClr val="44546A"/>
                  </a:solidFill>
                  <a:latin typeface="Tahoma" panose="020B0604030504040204" pitchFamily="34" charset="0"/>
                  <a:ea typeface="Tahoma" panose="020B0604030504040204" pitchFamily="34" charset="0"/>
                  <a:cs typeface="Tahoma" panose="020B0604030504040204" pitchFamily="34" charset="0"/>
                </a:rPr>
                <a:t>make improvements,</a:t>
              </a:r>
              <a:r>
                <a:rPr kumimoji="0" lang="en-GB" sz="16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 had four strands:</a:t>
              </a:r>
            </a:p>
          </p:txBody>
        </p:sp>
        <p:cxnSp>
          <p:nvCxnSpPr>
            <p:cNvPr id="7" name="btfpColumnHeaderBoxLine838172">
              <a:extLst>
                <a:ext uri="{FF2B5EF4-FFF2-40B4-BE49-F238E27FC236}">
                  <a16:creationId xmlns:a16="http://schemas.microsoft.com/office/drawing/2014/main" id="{EE5FE043-F7E7-C05C-7DE9-43777E458817}"/>
                </a:ext>
              </a:extLst>
            </p:cNvPr>
            <p:cNvCxnSpPr/>
            <p:nvPr>
              <p:custDataLst>
                <p:tags r:id="rId3"/>
              </p:custDataLst>
            </p:nvPr>
          </p:nvCxnSpPr>
          <p:spPr bwMode="gray">
            <a:xfrm>
              <a:off x="-15939" y="-88391"/>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 name="Title 11">
            <a:extLst>
              <a:ext uri="{FF2B5EF4-FFF2-40B4-BE49-F238E27FC236}">
                <a16:creationId xmlns:a16="http://schemas.microsoft.com/office/drawing/2014/main" id="{4D8A3C39-0577-EFFA-C8BB-CC5B0F2660FF}"/>
              </a:ext>
            </a:extLst>
          </p:cNvPr>
          <p:cNvSpPr>
            <a:spLocks noGrp="1"/>
          </p:cNvSpPr>
          <p:nvPr>
            <p:ph type="title"/>
          </p:nvPr>
        </p:nvSpPr>
        <p:spPr>
          <a:xfrm>
            <a:off x="460800" y="205200"/>
            <a:ext cx="9299869" cy="1325563"/>
          </a:xfrm>
        </p:spPr>
        <p:txBody>
          <a:bodyPr>
            <a:normAutofit/>
          </a:bodyPr>
          <a:lstStyle/>
          <a:p>
            <a:r>
              <a:rPr lang="en-GB" sz="2600" dirty="0">
                <a:solidFill>
                  <a:schemeClr val="accent5">
                    <a:lumMod val="60000"/>
                    <a:lumOff val="40000"/>
                  </a:schemeClr>
                </a:solidFill>
              </a:rPr>
              <a:t>The Big Listen: </a:t>
            </a:r>
            <a:r>
              <a:rPr lang="en-GB" sz="2600" dirty="0">
                <a:solidFill>
                  <a:schemeClr val="tx2"/>
                </a:solidFill>
              </a:rPr>
              <a:t>Listening following calls for change</a:t>
            </a:r>
          </a:p>
        </p:txBody>
      </p:sp>
      <p:grpSp>
        <p:nvGrpSpPr>
          <p:cNvPr id="11" name="Group 10">
            <a:extLst>
              <a:ext uri="{FF2B5EF4-FFF2-40B4-BE49-F238E27FC236}">
                <a16:creationId xmlns:a16="http://schemas.microsoft.com/office/drawing/2014/main" id="{6CEC57D9-847B-3262-5250-4927FE2B1F26}"/>
              </a:ext>
            </a:extLst>
          </p:cNvPr>
          <p:cNvGrpSpPr/>
          <p:nvPr/>
        </p:nvGrpSpPr>
        <p:grpSpPr>
          <a:xfrm>
            <a:off x="6096000" y="1470627"/>
            <a:ext cx="2724989" cy="2378572"/>
            <a:chOff x="7760492" y="1915153"/>
            <a:chExt cx="4211618" cy="3683682"/>
          </a:xfrm>
        </p:grpSpPr>
        <p:pic>
          <p:nvPicPr>
            <p:cNvPr id="14" name="Picture 13">
              <a:extLst>
                <a:ext uri="{FF2B5EF4-FFF2-40B4-BE49-F238E27FC236}">
                  <a16:creationId xmlns:a16="http://schemas.microsoft.com/office/drawing/2014/main" id="{83D65AC3-4551-7758-5C3A-666E72AC81DE}"/>
                </a:ext>
              </a:extLst>
            </p:cNvPr>
            <p:cNvPicPr>
              <a:picLocks noChangeAspect="1"/>
            </p:cNvPicPr>
            <p:nvPr/>
          </p:nvPicPr>
          <p:blipFill rotWithShape="1">
            <a:blip r:embed="rId6"/>
            <a:srcRect t="4169" r="646"/>
            <a:stretch/>
          </p:blipFill>
          <p:spPr>
            <a:xfrm>
              <a:off x="7760492" y="1915153"/>
              <a:ext cx="4211618" cy="3683682"/>
            </a:xfrm>
            <a:prstGeom prst="rect">
              <a:avLst/>
            </a:prstGeom>
          </p:spPr>
        </p:pic>
        <p:sp>
          <p:nvSpPr>
            <p:cNvPr id="21" name="Oval 20">
              <a:extLst>
                <a:ext uri="{FF2B5EF4-FFF2-40B4-BE49-F238E27FC236}">
                  <a16:creationId xmlns:a16="http://schemas.microsoft.com/office/drawing/2014/main" id="{04DD0955-CDA5-BAC7-A0A8-56DF8206C8F8}"/>
                </a:ext>
              </a:extLst>
            </p:cNvPr>
            <p:cNvSpPr/>
            <p:nvPr/>
          </p:nvSpPr>
          <p:spPr>
            <a:xfrm rot="19684240">
              <a:off x="11051211" y="2070652"/>
              <a:ext cx="610161" cy="912091"/>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2" name="TextBox 31">
            <a:extLst>
              <a:ext uri="{FF2B5EF4-FFF2-40B4-BE49-F238E27FC236}">
                <a16:creationId xmlns:a16="http://schemas.microsoft.com/office/drawing/2014/main" id="{37CA2949-9A3C-398E-6D60-4D0E6FBC67F4}"/>
              </a:ext>
            </a:extLst>
          </p:cNvPr>
          <p:cNvSpPr txBox="1"/>
          <p:nvPr/>
        </p:nvSpPr>
        <p:spPr>
          <a:xfrm>
            <a:off x="849970" y="2480284"/>
            <a:ext cx="4649330" cy="3783665"/>
          </a:xfrm>
          <a:prstGeom prst="rect">
            <a:avLst/>
          </a:prstGeom>
          <a:noFill/>
        </p:spPr>
        <p:txBody>
          <a:bodyPr wrap="square" lIns="91440" tIns="45720" rIns="91440" bIns="45720" anchor="t">
            <a:spAutoFit/>
          </a:bodyPr>
          <a:lstStyle/>
          <a:p>
            <a:pPr marL="457200" marR="0" lvl="1"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Tahoma"/>
                <a:ea typeface="Calibri"/>
                <a:cs typeface="Tahoma"/>
              </a:rPr>
              <a:t>A public consultation, launched at the beginning of March 2024, has received </a:t>
            </a:r>
            <a:r>
              <a:rPr kumimoji="0" lang="en-GB" sz="1400" b="1" i="0" u="none" strike="noStrike" kern="1200" cap="none" spc="0" normalizeH="0" baseline="0" noProof="0" dirty="0">
                <a:ln>
                  <a:noFill/>
                </a:ln>
                <a:solidFill>
                  <a:prstClr val="black"/>
                </a:solidFill>
                <a:effectLst/>
                <a:uLnTx/>
                <a:uFillTx/>
                <a:latin typeface="Tahoma"/>
                <a:ea typeface="Calibri"/>
                <a:cs typeface="Tahoma"/>
              </a:rPr>
              <a:t>20,358 responses</a:t>
            </a:r>
            <a:r>
              <a:rPr lang="en-GB" sz="1400" dirty="0">
                <a:solidFill>
                  <a:prstClr val="black"/>
                </a:solidFill>
                <a:latin typeface="Tahoma"/>
                <a:ea typeface="Calibri"/>
                <a:cs typeface="Tahoma"/>
              </a:rPr>
              <a:t>.</a:t>
            </a:r>
            <a:r>
              <a:rPr kumimoji="0" lang="en-GB" sz="1400" b="1" i="0" u="none" strike="noStrike" kern="1200" cap="none" spc="0" normalizeH="0" baseline="0" noProof="0" dirty="0">
                <a:ln>
                  <a:noFill/>
                </a:ln>
                <a:solidFill>
                  <a:prstClr val="black"/>
                </a:solidFill>
                <a:effectLst/>
                <a:uLnTx/>
                <a:uFillTx/>
                <a:latin typeface="Tahoma"/>
                <a:ea typeface="Calibri"/>
                <a:cs typeface="Tahoma"/>
              </a:rPr>
              <a:t> </a:t>
            </a:r>
            <a:br>
              <a:rPr kumimoji="0" lang="en-GB" sz="1400" b="0" i="0" u="none" strike="noStrike" kern="1200" cap="none" spc="0" normalizeH="0" baseline="0" noProof="0" dirty="0">
                <a:ln>
                  <a:noFill/>
                </a:ln>
                <a:solidFill>
                  <a:prstClr val="black"/>
                </a:solidFill>
                <a:effectLst/>
                <a:uLnTx/>
                <a:uFillTx/>
                <a:latin typeface="Tahoma"/>
                <a:ea typeface="Calibri"/>
                <a:cs typeface="Tahoma"/>
              </a:rPr>
            </a:b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a:p>
            <a:pPr marL="457200" marR="0" lvl="1" indent="0" algn="l" defTabSz="914400" rtl="0" eaLnBrk="1" fontAlgn="auto" latinLnBrk="0" hangingPunct="1">
              <a:lnSpc>
                <a:spcPct val="115000"/>
              </a:lnSpc>
              <a:spcBef>
                <a:spcPts val="0"/>
              </a:spcBef>
              <a:spcAft>
                <a:spcPts val="0"/>
              </a:spcAft>
              <a:buClrTx/>
              <a:buSzTx/>
              <a:buFontTx/>
              <a:buNone/>
              <a:tabLst/>
              <a:defRPr/>
            </a:pPr>
            <a:r>
              <a:rPr lang="en-GB" sz="1400" dirty="0">
                <a:solidFill>
                  <a:prstClr val="black"/>
                </a:solidFill>
                <a:latin typeface="Tahoma"/>
                <a:ea typeface="Calibri"/>
                <a:cs typeface="Tahoma"/>
              </a:rPr>
              <a:t>A</a:t>
            </a:r>
            <a:r>
              <a:rPr kumimoji="0" lang="en-GB" sz="1400" b="0" i="0" u="none" strike="noStrike" kern="1200" cap="none" spc="0" normalizeH="0" baseline="0" noProof="0" dirty="0">
                <a:ln>
                  <a:noFill/>
                </a:ln>
                <a:solidFill>
                  <a:prstClr val="black"/>
                </a:solidFill>
                <a:effectLst/>
                <a:uLnTx/>
                <a:uFillTx/>
                <a:latin typeface="Tahoma"/>
                <a:ea typeface="Calibri"/>
                <a:cs typeface="Tahoma"/>
              </a:rPr>
              <a:t> children’s survey </a:t>
            </a:r>
            <a:r>
              <a:rPr kumimoji="0" lang="en-GB" sz="1400" b="1" i="0" u="none" strike="noStrike" kern="1200" cap="none" spc="0" normalizeH="0" baseline="0" noProof="0" dirty="0">
                <a:ln>
                  <a:noFill/>
                </a:ln>
                <a:solidFill>
                  <a:prstClr val="black"/>
                </a:solidFill>
                <a:effectLst/>
                <a:uLnTx/>
                <a:uFillTx/>
                <a:latin typeface="Tahoma"/>
                <a:ea typeface="Calibri"/>
                <a:cs typeface="Tahoma"/>
              </a:rPr>
              <a:t>reaching 4,325 children and young people</a:t>
            </a:r>
            <a:r>
              <a:rPr kumimoji="0" lang="en-GB" sz="1400" b="0" i="0" u="none" strike="noStrike" kern="1200" cap="none" spc="0" normalizeH="0" baseline="0" noProof="0" dirty="0">
                <a:ln>
                  <a:noFill/>
                </a:ln>
                <a:solidFill>
                  <a:prstClr val="black"/>
                </a:solidFill>
                <a:effectLst/>
                <a:uLnTx/>
                <a:uFillTx/>
                <a:latin typeface="Tahoma"/>
                <a:ea typeface="Calibri"/>
                <a:cs typeface="Tahoma"/>
              </a:rPr>
              <a:t>, alongside focus groups with children in care and care leavers.</a:t>
            </a: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a:p>
            <a:pPr marL="457200" marR="0" lvl="1" indent="0" algn="l" defTabSz="914400" rtl="0" eaLnBrk="1" fontAlgn="auto" latinLnBrk="0" hangingPunct="1">
              <a:lnSpc>
                <a:spcPct val="115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Tahoma"/>
                <a:ea typeface="Calibri"/>
                <a:cs typeface="Tahoma"/>
              </a:rPr>
              <a:t>Externally commissioned polling and focus groups reaching </a:t>
            </a:r>
            <a:r>
              <a:rPr kumimoji="0" lang="en-GB" sz="1400" b="1" i="0" u="none" strike="noStrike" kern="1200" cap="none" spc="0" normalizeH="0" baseline="0" noProof="0" dirty="0">
                <a:ln>
                  <a:noFill/>
                </a:ln>
                <a:solidFill>
                  <a:prstClr val="black"/>
                </a:solidFill>
                <a:effectLst/>
                <a:uLnTx/>
                <a:uFillTx/>
                <a:latin typeface="Tahoma"/>
                <a:ea typeface="Calibri"/>
                <a:cs typeface="Tahoma"/>
              </a:rPr>
              <a:t>7,000 professionals </a:t>
            </a:r>
            <a:r>
              <a:rPr kumimoji="0" lang="en-GB" sz="1400" b="0" i="0" u="none" strike="noStrike" kern="1200" cap="none" spc="0" normalizeH="0" baseline="0" noProof="0" dirty="0">
                <a:ln>
                  <a:noFill/>
                </a:ln>
                <a:solidFill>
                  <a:prstClr val="black"/>
                </a:solidFill>
                <a:effectLst/>
                <a:uLnTx/>
                <a:uFillTx/>
                <a:latin typeface="Tahoma"/>
                <a:ea typeface="Calibri"/>
                <a:cs typeface="Tahoma"/>
              </a:rPr>
              <a:t>from across our remits, </a:t>
            </a:r>
            <a:r>
              <a:rPr kumimoji="0" lang="en-GB" sz="1400" b="1" i="0" u="none" strike="noStrike" kern="1200" cap="none" spc="0" normalizeH="0" baseline="0" noProof="0" dirty="0">
                <a:ln>
                  <a:noFill/>
                </a:ln>
                <a:solidFill>
                  <a:prstClr val="black"/>
                </a:solidFill>
                <a:effectLst/>
                <a:uLnTx/>
                <a:uFillTx/>
                <a:latin typeface="Tahoma"/>
                <a:ea typeface="Calibri"/>
                <a:cs typeface="Tahoma"/>
              </a:rPr>
              <a:t>4,000 parents </a:t>
            </a:r>
            <a:r>
              <a:rPr kumimoji="0" lang="en-GB" sz="1400" b="0" i="0" u="none" strike="noStrike" kern="1200" cap="none" spc="0" normalizeH="0" baseline="0" noProof="0" dirty="0">
                <a:ln>
                  <a:noFill/>
                </a:ln>
                <a:solidFill>
                  <a:prstClr val="black"/>
                </a:solidFill>
                <a:effectLst/>
                <a:uLnTx/>
                <a:uFillTx/>
                <a:latin typeface="Tahoma"/>
                <a:ea typeface="Calibri"/>
                <a:cs typeface="Tahoma"/>
              </a:rPr>
              <a:t>and carers, and </a:t>
            </a:r>
            <a:r>
              <a:rPr kumimoji="0" lang="en-GB" sz="1400" b="1" i="0" u="none" strike="noStrike" kern="1200" cap="none" spc="0" normalizeH="0" baseline="0" noProof="0" dirty="0">
                <a:ln>
                  <a:noFill/>
                </a:ln>
                <a:solidFill>
                  <a:prstClr val="black"/>
                </a:solidFill>
                <a:effectLst/>
                <a:uLnTx/>
                <a:uFillTx/>
                <a:latin typeface="Tahoma"/>
                <a:ea typeface="Calibri"/>
                <a:cs typeface="Tahoma"/>
              </a:rPr>
              <a:t>over 4,000 members of the public</a:t>
            </a:r>
            <a:r>
              <a:rPr kumimoji="0" lang="en-GB" sz="1400" i="0" u="none" strike="noStrike" kern="1200" cap="none" spc="0" normalizeH="0" baseline="0" noProof="0" dirty="0">
                <a:ln>
                  <a:noFill/>
                </a:ln>
                <a:solidFill>
                  <a:prstClr val="black"/>
                </a:solidFill>
                <a:effectLst/>
                <a:uLnTx/>
                <a:uFillTx/>
                <a:latin typeface="Tahoma"/>
                <a:ea typeface="Calibri"/>
                <a:cs typeface="Tahoma"/>
              </a:rPr>
              <a:t>.</a:t>
            </a:r>
            <a:br>
              <a:rPr kumimoji="0" lang="en-GB" sz="1400" b="1" i="0" u="none" strike="noStrike" kern="1200" cap="none" spc="0" normalizeH="0" baseline="0" noProof="0" dirty="0">
                <a:ln>
                  <a:noFill/>
                </a:ln>
                <a:solidFill>
                  <a:prstClr val="black"/>
                </a:solidFill>
                <a:effectLst/>
                <a:uLnTx/>
                <a:uFillTx/>
                <a:latin typeface="Tahoma"/>
                <a:ea typeface="Calibri"/>
                <a:cs typeface="Tahoma"/>
              </a:rPr>
            </a:br>
            <a:endParaRPr kumimoji="0" lang="en-GB" sz="1400" b="1" i="0" u="none" strike="noStrike" kern="1200" cap="none" spc="0" normalizeH="0" baseline="0" noProof="0" dirty="0">
              <a:ln>
                <a:noFill/>
              </a:ln>
              <a:solidFill>
                <a:prstClr val="black"/>
              </a:solidFill>
              <a:effectLst/>
              <a:uLnTx/>
              <a:uFillTx/>
              <a:latin typeface="Tahoma"/>
              <a:ea typeface="Calibri"/>
              <a:cs typeface="Tahoma"/>
            </a:endParaRPr>
          </a:p>
          <a:p>
            <a:pPr marL="457200" marR="0" lvl="1" indent="0" algn="l" defTabSz="914400"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Tahoma"/>
                <a:ea typeface="Calibri"/>
                <a:cs typeface="Tahoma"/>
              </a:rPr>
              <a:t>Hundreds of events </a:t>
            </a:r>
            <a:r>
              <a:rPr kumimoji="0" lang="en-GB" sz="1400" b="0" i="0" u="none" strike="noStrike" kern="1200" cap="none" spc="0" normalizeH="0" baseline="0" noProof="0" dirty="0">
                <a:ln>
                  <a:noFill/>
                </a:ln>
                <a:solidFill>
                  <a:prstClr val="black"/>
                </a:solidFill>
                <a:effectLst/>
                <a:uLnTx/>
                <a:uFillTx/>
                <a:latin typeface="Tahoma"/>
                <a:ea typeface="Calibri"/>
                <a:cs typeface="Tahoma"/>
              </a:rPr>
              <a:t>with stakeholders led by HMCI and other leads at Ofsted. </a:t>
            </a:r>
            <a:br>
              <a:rPr kumimoji="0" lang="en-GB" sz="1400" b="0" i="0" u="none" strike="noStrike" kern="1200" cap="none" spc="0" normalizeH="0" baseline="0" noProof="0" dirty="0">
                <a:ln>
                  <a:noFill/>
                </a:ln>
                <a:solidFill>
                  <a:prstClr val="black"/>
                </a:solidFill>
                <a:effectLst/>
                <a:uLnTx/>
                <a:uFillTx/>
                <a:latin typeface="Tahoma"/>
                <a:ea typeface="Calibri"/>
                <a:cs typeface="Tahoma"/>
              </a:rPr>
            </a:b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p:txBody>
      </p:sp>
      <p:sp>
        <p:nvSpPr>
          <p:cNvPr id="2" name="Rectangle 1">
            <a:extLst>
              <a:ext uri="{FF2B5EF4-FFF2-40B4-BE49-F238E27FC236}">
                <a16:creationId xmlns:a16="http://schemas.microsoft.com/office/drawing/2014/main" id="{30AA9937-FEF9-734B-0D6D-038C5C3DA222}"/>
              </a:ext>
            </a:extLst>
          </p:cNvPr>
          <p:cNvSpPr/>
          <p:nvPr/>
        </p:nvSpPr>
        <p:spPr>
          <a:xfrm>
            <a:off x="8825936" y="2529502"/>
            <a:ext cx="2659776" cy="457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2"/>
                </a:solidFill>
                <a:effectLst/>
                <a:uLnTx/>
                <a:uFillTx/>
                <a:latin typeface="Tahoma" panose="020B0604030504040204" pitchFamily="34" charset="0"/>
                <a:ea typeface="Tahoma" panose="020B0604030504040204" pitchFamily="34" charset="0"/>
                <a:cs typeface="Tahoma" panose="020B0604030504040204" pitchFamily="34" charset="0"/>
              </a:rPr>
              <a:t>The public consultation reached over 20k people, including 4.3k children. </a:t>
            </a:r>
          </a:p>
        </p:txBody>
      </p:sp>
      <p:pic>
        <p:nvPicPr>
          <p:cNvPr id="19" name="Picture 18">
            <a:extLst>
              <a:ext uri="{FF2B5EF4-FFF2-40B4-BE49-F238E27FC236}">
                <a16:creationId xmlns:a16="http://schemas.microsoft.com/office/drawing/2014/main" id="{4B62BDE4-BF11-81DC-9975-4D923A75E49B}"/>
              </a:ext>
            </a:extLst>
          </p:cNvPr>
          <p:cNvPicPr>
            <a:picLocks noChangeAspect="1"/>
          </p:cNvPicPr>
          <p:nvPr/>
        </p:nvPicPr>
        <p:blipFill rotWithShape="1">
          <a:blip r:embed="rId7"/>
          <a:srcRect l="2264" t="11010"/>
          <a:stretch/>
        </p:blipFill>
        <p:spPr>
          <a:xfrm>
            <a:off x="6557419" y="4001246"/>
            <a:ext cx="2338779" cy="2142157"/>
          </a:xfrm>
          <a:prstGeom prst="rect">
            <a:avLst/>
          </a:prstGeom>
        </p:spPr>
      </p:pic>
      <p:sp>
        <p:nvSpPr>
          <p:cNvPr id="20" name="Rectangle 19">
            <a:extLst>
              <a:ext uri="{FF2B5EF4-FFF2-40B4-BE49-F238E27FC236}">
                <a16:creationId xmlns:a16="http://schemas.microsoft.com/office/drawing/2014/main" id="{97AB611B-94A3-3320-2138-23133271D618}"/>
              </a:ext>
            </a:extLst>
          </p:cNvPr>
          <p:cNvSpPr/>
          <p:nvPr/>
        </p:nvSpPr>
        <p:spPr>
          <a:xfrm>
            <a:off x="8825936" y="4843367"/>
            <a:ext cx="2659776" cy="457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2"/>
                </a:solidFill>
                <a:effectLst/>
                <a:uLnTx/>
                <a:uFillTx/>
                <a:latin typeface="Tahoma" panose="020B0604030504040204" pitchFamily="34" charset="0"/>
                <a:ea typeface="Tahoma" panose="020B0604030504040204" pitchFamily="34" charset="0"/>
                <a:cs typeface="Tahoma" panose="020B0604030504040204" pitchFamily="34" charset="0"/>
              </a:rPr>
              <a:t>The public consultation received responses across all of Ofsted’s remits.</a:t>
            </a:r>
          </a:p>
        </p:txBody>
      </p:sp>
      <p:pic>
        <p:nvPicPr>
          <p:cNvPr id="10" name="Graphic 9" descr="Customer review with solid fill">
            <a:extLst>
              <a:ext uri="{FF2B5EF4-FFF2-40B4-BE49-F238E27FC236}">
                <a16:creationId xmlns:a16="http://schemas.microsoft.com/office/drawing/2014/main" id="{45EFDB0B-79C5-1AFC-7CF3-3F29C659B4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1455" y="2529502"/>
            <a:ext cx="629973" cy="629973"/>
          </a:xfrm>
          <a:prstGeom prst="rect">
            <a:avLst/>
          </a:prstGeom>
        </p:spPr>
      </p:pic>
      <p:pic>
        <p:nvPicPr>
          <p:cNvPr id="15" name="Graphic 14" descr="Children with solid fill">
            <a:extLst>
              <a:ext uri="{FF2B5EF4-FFF2-40B4-BE49-F238E27FC236}">
                <a16:creationId xmlns:a16="http://schemas.microsoft.com/office/drawing/2014/main" id="{CA852B19-1776-D20C-9FAD-B44A2674F6F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4144" y="3306105"/>
            <a:ext cx="695141" cy="695141"/>
          </a:xfrm>
          <a:prstGeom prst="rect">
            <a:avLst/>
          </a:prstGeom>
        </p:spPr>
      </p:pic>
      <p:pic>
        <p:nvPicPr>
          <p:cNvPr id="17" name="Graphic 16" descr="Research with solid fill">
            <a:extLst>
              <a:ext uri="{FF2B5EF4-FFF2-40B4-BE49-F238E27FC236}">
                <a16:creationId xmlns:a16="http://schemas.microsoft.com/office/drawing/2014/main" id="{8764887E-06E6-6D42-497D-3523F3FA1E4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4149" y="4346072"/>
            <a:ext cx="695141" cy="695141"/>
          </a:xfrm>
          <a:prstGeom prst="rect">
            <a:avLst/>
          </a:prstGeom>
        </p:spPr>
      </p:pic>
      <p:pic>
        <p:nvPicPr>
          <p:cNvPr id="22" name="Graphic 21" descr="Lecturer with solid fill">
            <a:extLst>
              <a:ext uri="{FF2B5EF4-FFF2-40B4-BE49-F238E27FC236}">
                <a16:creationId xmlns:a16="http://schemas.microsoft.com/office/drawing/2014/main" id="{122D627B-98E3-91CC-5B81-2EA0D651824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87868" y="5353781"/>
            <a:ext cx="695141" cy="695141"/>
          </a:xfrm>
          <a:prstGeom prst="rect">
            <a:avLst/>
          </a:prstGeom>
        </p:spPr>
      </p:pic>
      <p:sp>
        <p:nvSpPr>
          <p:cNvPr id="8" name="Slide Number Placeholder 3">
            <a:extLst>
              <a:ext uri="{FF2B5EF4-FFF2-40B4-BE49-F238E27FC236}">
                <a16:creationId xmlns:a16="http://schemas.microsoft.com/office/drawing/2014/main" id="{5E293391-2BA1-1276-FF80-0ABB40B21479}"/>
              </a:ext>
            </a:extLst>
          </p:cNvPr>
          <p:cNvSpPr txBox="1">
            <a:spLocks/>
          </p:cNvSpPr>
          <p:nvPr/>
        </p:nvSpPr>
        <p:spPr>
          <a:xfrm>
            <a:off x="10937802" y="6370793"/>
            <a:ext cx="1068387"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F4C8201-D8A8-417D-8A18-42E93E6C5D44}" type="slidenum">
              <a:rPr lang="en-GB" smtClean="0"/>
              <a:pPr>
                <a:defRPr/>
              </a:pPr>
              <a:t>6</a:t>
            </a:fld>
            <a:endParaRPr lang="en-GB"/>
          </a:p>
        </p:txBody>
      </p:sp>
    </p:spTree>
    <p:extLst>
      <p:ext uri="{BB962C8B-B14F-4D97-AF65-F5344CB8AC3E}">
        <p14:creationId xmlns:p14="http://schemas.microsoft.com/office/powerpoint/2010/main" val="443103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btfpColumnHeaderBox838172">
            <a:extLst>
              <a:ext uri="{FF2B5EF4-FFF2-40B4-BE49-F238E27FC236}">
                <a16:creationId xmlns:a16="http://schemas.microsoft.com/office/drawing/2014/main" id="{83753B32-7A4D-4676-9033-DE96A64DE73B}"/>
              </a:ext>
            </a:extLst>
          </p:cNvPr>
          <p:cNvGrpSpPr/>
          <p:nvPr>
            <p:custDataLst>
              <p:tags r:id="rId1"/>
            </p:custDataLst>
          </p:nvPr>
        </p:nvGrpSpPr>
        <p:grpSpPr>
          <a:xfrm>
            <a:off x="7044360" y="1738647"/>
            <a:ext cx="4751923" cy="324867"/>
            <a:chOff x="330200" y="1184219"/>
            <a:chExt cx="5495529" cy="324621"/>
          </a:xfrm>
        </p:grpSpPr>
        <p:sp>
          <p:nvSpPr>
            <p:cNvPr id="6" name="btfpColumnHeaderBoxText838172">
              <a:extLst>
                <a:ext uri="{FF2B5EF4-FFF2-40B4-BE49-F238E27FC236}">
                  <a16:creationId xmlns:a16="http://schemas.microsoft.com/office/drawing/2014/main" id="{550573E1-A3F9-408E-A618-859A08DED18C}"/>
                </a:ext>
              </a:extLst>
            </p:cNvPr>
            <p:cNvSpPr txBox="1"/>
            <p:nvPr>
              <p:custDataLst>
                <p:tags r:id="rId5"/>
              </p:custDataLst>
            </p:nvPr>
          </p:nvSpPr>
          <p:spPr bwMode="gray">
            <a:xfrm>
              <a:off x="330200" y="1184219"/>
              <a:ext cx="5495529" cy="318755"/>
            </a:xfrm>
            <a:prstGeom prst="rect">
              <a:avLst/>
            </a:prstGeom>
            <a:noFill/>
          </p:spPr>
          <p:txBody>
            <a:bodyPr vert="horz" wrap="square" lIns="36036" tIns="36036" rIns="36036" bIns="36036" rtlCol="0" anchor="b">
              <a:spAutoFit/>
            </a:bodyPr>
            <a:lstStyle/>
            <a:p>
              <a:pPr lvl="0" algn="ctr">
                <a:spcBef>
                  <a:spcPct val="0"/>
                </a:spcBef>
                <a:defRPr/>
              </a:pPr>
              <a:r>
                <a:rPr lang="en-GB" sz="1600" b="1" dirty="0">
                  <a:solidFill>
                    <a:srgbClr val="44546A"/>
                  </a:solidFill>
                  <a:latin typeface="Tahoma" panose="020B0604030504040204" pitchFamily="34" charset="0"/>
                  <a:ea typeface="Tahoma" panose="020B0604030504040204" pitchFamily="34" charset="0"/>
                  <a:cs typeface="Tahoma" panose="020B0604030504040204" pitchFamily="34" charset="0"/>
                </a:rPr>
                <a:t>Professionals had strikingly similar views</a:t>
              </a:r>
              <a:endParaRPr kumimoji="0" lang="en-GB" sz="16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7" name="btfpColumnHeaderBoxLine838172">
              <a:extLst>
                <a:ext uri="{FF2B5EF4-FFF2-40B4-BE49-F238E27FC236}">
                  <a16:creationId xmlns:a16="http://schemas.microsoft.com/office/drawing/2014/main" id="{2D752BD9-38AE-4702-AF5C-47239582595A}"/>
                </a:ext>
              </a:extLst>
            </p:cNvPr>
            <p:cNvCxnSpPr/>
            <p:nvPr>
              <p:custDataLst>
                <p:tags r:id="rId6"/>
              </p:custDataLst>
            </p:nvPr>
          </p:nvCxnSpPr>
          <p:spPr bwMode="gray">
            <a:xfrm>
              <a:off x="330200" y="1508840"/>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 name="Title 11">
            <a:extLst>
              <a:ext uri="{FF2B5EF4-FFF2-40B4-BE49-F238E27FC236}">
                <a16:creationId xmlns:a16="http://schemas.microsoft.com/office/drawing/2014/main" id="{E43BC7F2-B02C-46B9-9EFE-801E2713D8D0}"/>
              </a:ext>
            </a:extLst>
          </p:cNvPr>
          <p:cNvSpPr>
            <a:spLocks noGrp="1"/>
          </p:cNvSpPr>
          <p:nvPr>
            <p:ph type="title"/>
          </p:nvPr>
        </p:nvSpPr>
        <p:spPr>
          <a:xfrm>
            <a:off x="460800" y="205200"/>
            <a:ext cx="9299869" cy="1325563"/>
          </a:xfrm>
        </p:spPr>
        <p:txBody>
          <a:bodyPr>
            <a:normAutofit/>
          </a:bodyPr>
          <a:lstStyle/>
          <a:p>
            <a:r>
              <a:rPr lang="en-GB" sz="2600" dirty="0">
                <a:solidFill>
                  <a:schemeClr val="accent5">
                    <a:lumMod val="60000"/>
                    <a:lumOff val="40000"/>
                  </a:schemeClr>
                </a:solidFill>
              </a:rPr>
              <a:t>The Big Listen: </a:t>
            </a:r>
            <a:r>
              <a:rPr lang="en-GB" sz="2600" dirty="0">
                <a:solidFill>
                  <a:schemeClr val="tx2"/>
                </a:solidFill>
              </a:rPr>
              <a:t>What did we hear? </a:t>
            </a:r>
          </a:p>
        </p:txBody>
      </p:sp>
      <p:grpSp>
        <p:nvGrpSpPr>
          <p:cNvPr id="2" name="btfpColumnHeaderBox838172">
            <a:extLst>
              <a:ext uri="{FF2B5EF4-FFF2-40B4-BE49-F238E27FC236}">
                <a16:creationId xmlns:a16="http://schemas.microsoft.com/office/drawing/2014/main" id="{950017AB-554B-F638-6F9E-2AEF0CD04435}"/>
              </a:ext>
            </a:extLst>
          </p:cNvPr>
          <p:cNvGrpSpPr/>
          <p:nvPr>
            <p:custDataLst>
              <p:tags r:id="rId2"/>
            </p:custDataLst>
          </p:nvPr>
        </p:nvGrpSpPr>
        <p:grpSpPr>
          <a:xfrm>
            <a:off x="413504" y="1486318"/>
            <a:ext cx="6316826" cy="572247"/>
            <a:chOff x="330200" y="1030813"/>
            <a:chExt cx="5495529" cy="478027"/>
          </a:xfrm>
        </p:grpSpPr>
        <p:sp>
          <p:nvSpPr>
            <p:cNvPr id="8" name="btfpColumnHeaderBoxText838172">
              <a:extLst>
                <a:ext uri="{FF2B5EF4-FFF2-40B4-BE49-F238E27FC236}">
                  <a16:creationId xmlns:a16="http://schemas.microsoft.com/office/drawing/2014/main" id="{99C3C849-175B-0920-9879-85B761B644A2}"/>
                </a:ext>
              </a:extLst>
            </p:cNvPr>
            <p:cNvSpPr txBox="1"/>
            <p:nvPr>
              <p:custDataLst>
                <p:tags r:id="rId3"/>
              </p:custDataLst>
            </p:nvPr>
          </p:nvSpPr>
          <p:spPr bwMode="gray">
            <a:xfrm>
              <a:off x="330200" y="1030813"/>
              <a:ext cx="5395478" cy="472155"/>
            </a:xfrm>
            <a:prstGeom prst="rect">
              <a:avLst/>
            </a:prstGeom>
            <a:noFill/>
          </p:spPr>
          <p:txBody>
            <a:bodyPr vert="horz" wrap="square" lIns="36036" tIns="36036" rIns="36036" bIns="36036" rtlCol="0" anchor="b">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Parents largely support Ofsted but want an </a:t>
              </a:r>
              <a:br>
                <a:rPr kumimoji="0" lang="en-GB" sz="16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br>
              <a:r>
                <a:rPr kumimoji="0" lang="en-GB" sz="16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alternative to one-word judgements</a:t>
              </a:r>
            </a:p>
          </p:txBody>
        </p:sp>
        <p:cxnSp>
          <p:nvCxnSpPr>
            <p:cNvPr id="9" name="btfpColumnHeaderBoxLine838172">
              <a:extLst>
                <a:ext uri="{FF2B5EF4-FFF2-40B4-BE49-F238E27FC236}">
                  <a16:creationId xmlns:a16="http://schemas.microsoft.com/office/drawing/2014/main" id="{4928DEDE-3902-402F-F709-4FD31EF4BE15}"/>
                </a:ext>
              </a:extLst>
            </p:cNvPr>
            <p:cNvCxnSpPr/>
            <p:nvPr>
              <p:custDataLst>
                <p:tags r:id="rId4"/>
              </p:custDataLst>
            </p:nvPr>
          </p:nvCxnSpPr>
          <p:spPr bwMode="gray">
            <a:xfrm>
              <a:off x="330200" y="1508840"/>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FFC9F2ED-2FE0-8D2B-E7DC-EFF96F206EDB}"/>
              </a:ext>
            </a:extLst>
          </p:cNvPr>
          <p:cNvGrpSpPr/>
          <p:nvPr/>
        </p:nvGrpSpPr>
        <p:grpSpPr>
          <a:xfrm>
            <a:off x="6730330" y="2472429"/>
            <a:ext cx="306171" cy="3672000"/>
            <a:chOff x="5278183" y="2092537"/>
            <a:chExt cx="306171" cy="3794400"/>
          </a:xfrm>
        </p:grpSpPr>
        <p:cxnSp>
          <p:nvCxnSpPr>
            <p:cNvPr id="11" name="Straight Connector 10">
              <a:extLst>
                <a:ext uri="{FF2B5EF4-FFF2-40B4-BE49-F238E27FC236}">
                  <a16:creationId xmlns:a16="http://schemas.microsoft.com/office/drawing/2014/main" id="{4EFE825B-78A5-2C40-26E3-B3F1D6F74F96}"/>
                </a:ext>
              </a:extLst>
            </p:cNvPr>
            <p:cNvCxnSpPr/>
            <p:nvPr/>
          </p:nvCxnSpPr>
          <p:spPr>
            <a:xfrm>
              <a:off x="5419192" y="2092537"/>
              <a:ext cx="0" cy="3794400"/>
            </a:xfrm>
            <a:prstGeom prst="line">
              <a:avLst/>
            </a:prstGeom>
            <a:ln w="9525" cap="rnd">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FD88FC55-B041-46F0-F968-991EC2EFD860}"/>
                </a:ext>
              </a:extLst>
            </p:cNvPr>
            <p:cNvGrpSpPr/>
            <p:nvPr/>
          </p:nvGrpSpPr>
          <p:grpSpPr>
            <a:xfrm>
              <a:off x="5278183" y="3812434"/>
              <a:ext cx="306171" cy="306910"/>
              <a:chOff x="5942914" y="3833745"/>
              <a:chExt cx="306171" cy="306910"/>
            </a:xfrm>
          </p:grpSpPr>
          <p:sp>
            <p:nvSpPr>
              <p:cNvPr id="14" name="Freeform 94">
                <a:extLst>
                  <a:ext uri="{FF2B5EF4-FFF2-40B4-BE49-F238E27FC236}">
                    <a16:creationId xmlns:a16="http://schemas.microsoft.com/office/drawing/2014/main" id="{FF1ADE0D-9D06-6B12-02D7-E8D552D66704}"/>
                  </a:ext>
                </a:extLst>
              </p:cNvPr>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95">
                <a:extLst>
                  <a:ext uri="{FF2B5EF4-FFF2-40B4-BE49-F238E27FC236}">
                    <a16:creationId xmlns:a16="http://schemas.microsoft.com/office/drawing/2014/main" id="{8061B444-5001-B65E-1B9E-DB6AAC5D9732}"/>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7" name="TextBox 16">
            <a:extLst>
              <a:ext uri="{FF2B5EF4-FFF2-40B4-BE49-F238E27FC236}">
                <a16:creationId xmlns:a16="http://schemas.microsoft.com/office/drawing/2014/main" id="{8C68ED38-24A6-F27C-9741-334DD23DA37D}"/>
              </a:ext>
            </a:extLst>
          </p:cNvPr>
          <p:cNvSpPr txBox="1"/>
          <p:nvPr/>
        </p:nvSpPr>
        <p:spPr>
          <a:xfrm>
            <a:off x="398096" y="2124808"/>
            <a:ext cx="6217231"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black"/>
                </a:solidFill>
                <a:latin typeface="Tahoma" panose="020B0604030504040204" pitchFamily="34" charset="0"/>
                <a:ea typeface="Arial" panose="020B0604020202020204" pitchFamily="34" charset="0"/>
              </a:rPr>
              <a:t>“</a:t>
            </a:r>
            <a:r>
              <a:rPr kumimoji="0" lang="en-GB" sz="1400" b="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rPr>
              <a:t>Act in the best interest of children”</a:t>
            </a: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rPr>
              <a:t> </a:t>
            </a:r>
            <a:r>
              <a:rPr lang="en-GB" sz="1400" dirty="0">
                <a:solidFill>
                  <a:prstClr val="black"/>
                </a:solidFill>
                <a:latin typeface="Tahoma" panose="020B0604030504040204" pitchFamily="34" charset="0"/>
                <a:ea typeface="Arial" panose="020B0604020202020204" pitchFamily="34" charset="0"/>
              </a:rPr>
              <a:t>– </a:t>
            </a: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rPr>
              <a:t>54% agreed, 13% disagre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rPr>
              <a:t>“Help improve standards of education” </a:t>
            </a:r>
            <a:r>
              <a:rPr lang="en-GB" sz="1400" dirty="0">
                <a:solidFill>
                  <a:prstClr val="black"/>
                </a:solidFill>
                <a:latin typeface="Tahoma" panose="020B0604030504040204" pitchFamily="34" charset="0"/>
                <a:ea typeface="Arial" panose="020B0604020202020204" pitchFamily="34" charset="0"/>
              </a:rPr>
              <a:t>– </a:t>
            </a: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rPr>
              <a:t>52% agreed, 31% disagre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rPr>
              <a:t>Are “a valuable source of information” </a:t>
            </a:r>
            <a:r>
              <a:rPr lang="en-GB" sz="1400" dirty="0">
                <a:solidFill>
                  <a:prstClr val="black"/>
                </a:solidFill>
                <a:latin typeface="Tahoma" panose="020B0604030504040204" pitchFamily="34" charset="0"/>
                <a:ea typeface="Arial" panose="020B0604020202020204" pitchFamily="34" charset="0"/>
              </a:rPr>
              <a:t>– </a:t>
            </a: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rPr>
              <a:t>55% agreed, 12% disagre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B0C0C"/>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8" name="Picture 17">
            <a:extLst>
              <a:ext uri="{FF2B5EF4-FFF2-40B4-BE49-F238E27FC236}">
                <a16:creationId xmlns:a16="http://schemas.microsoft.com/office/drawing/2014/main" id="{3F839A3C-A924-BCCF-5FBB-015BF9059FBE}"/>
              </a:ext>
            </a:extLst>
          </p:cNvPr>
          <p:cNvPicPr>
            <a:picLocks noChangeAspect="1"/>
          </p:cNvPicPr>
          <p:nvPr/>
        </p:nvPicPr>
        <p:blipFill>
          <a:blip r:embed="rId9"/>
          <a:stretch>
            <a:fillRect/>
          </a:stretch>
        </p:blipFill>
        <p:spPr>
          <a:xfrm>
            <a:off x="398097" y="2205252"/>
            <a:ext cx="1672248" cy="363680"/>
          </a:xfrm>
          <a:prstGeom prst="rect">
            <a:avLst/>
          </a:prstGeom>
        </p:spPr>
      </p:pic>
      <p:pic>
        <p:nvPicPr>
          <p:cNvPr id="16" name="Picture 15">
            <a:extLst>
              <a:ext uri="{FF2B5EF4-FFF2-40B4-BE49-F238E27FC236}">
                <a16:creationId xmlns:a16="http://schemas.microsoft.com/office/drawing/2014/main" id="{A6A2ED7D-A151-14F9-3D52-875FCE96743D}"/>
              </a:ext>
            </a:extLst>
          </p:cNvPr>
          <p:cNvPicPr>
            <a:picLocks noChangeAspect="1"/>
          </p:cNvPicPr>
          <p:nvPr/>
        </p:nvPicPr>
        <p:blipFill>
          <a:blip r:embed="rId10"/>
          <a:stretch>
            <a:fillRect/>
          </a:stretch>
        </p:blipFill>
        <p:spPr>
          <a:xfrm>
            <a:off x="1138421" y="3487478"/>
            <a:ext cx="5163875" cy="2575125"/>
          </a:xfrm>
          <a:prstGeom prst="rect">
            <a:avLst/>
          </a:prstGeom>
        </p:spPr>
      </p:pic>
      <p:pic>
        <p:nvPicPr>
          <p:cNvPr id="22" name="Picture 21">
            <a:extLst>
              <a:ext uri="{FF2B5EF4-FFF2-40B4-BE49-F238E27FC236}">
                <a16:creationId xmlns:a16="http://schemas.microsoft.com/office/drawing/2014/main" id="{23412F20-12B0-9C1E-4DF7-24FA09BFDF01}"/>
              </a:ext>
            </a:extLst>
          </p:cNvPr>
          <p:cNvPicPr>
            <a:picLocks noChangeAspect="1"/>
          </p:cNvPicPr>
          <p:nvPr/>
        </p:nvPicPr>
        <p:blipFill>
          <a:blip r:embed="rId11"/>
          <a:stretch>
            <a:fillRect/>
          </a:stretch>
        </p:blipFill>
        <p:spPr>
          <a:xfrm>
            <a:off x="7075583" y="2128766"/>
            <a:ext cx="1645255" cy="516651"/>
          </a:xfrm>
          <a:prstGeom prst="rect">
            <a:avLst/>
          </a:prstGeom>
        </p:spPr>
      </p:pic>
      <p:sp>
        <p:nvSpPr>
          <p:cNvPr id="3" name="Slide Number Placeholder 3">
            <a:extLst>
              <a:ext uri="{FF2B5EF4-FFF2-40B4-BE49-F238E27FC236}">
                <a16:creationId xmlns:a16="http://schemas.microsoft.com/office/drawing/2014/main" id="{0B4676A5-A12D-6B79-B7A0-EA01D8904E72}"/>
              </a:ext>
            </a:extLst>
          </p:cNvPr>
          <p:cNvSpPr txBox="1">
            <a:spLocks/>
          </p:cNvSpPr>
          <p:nvPr/>
        </p:nvSpPr>
        <p:spPr>
          <a:xfrm>
            <a:off x="10937802" y="6370793"/>
            <a:ext cx="1068387"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F4C8201-D8A8-417D-8A18-42E93E6C5D44}" type="slidenum">
              <a:rPr lang="en-GB" smtClean="0"/>
              <a:pPr>
                <a:defRPr/>
              </a:pPr>
              <a:t>7</a:t>
            </a:fld>
            <a:endParaRPr lang="en-GB"/>
          </a:p>
        </p:txBody>
      </p:sp>
      <p:graphicFrame>
        <p:nvGraphicFramePr>
          <p:cNvPr id="21" name="Chart 20">
            <a:extLst>
              <a:ext uri="{FF2B5EF4-FFF2-40B4-BE49-F238E27FC236}">
                <a16:creationId xmlns:a16="http://schemas.microsoft.com/office/drawing/2014/main" id="{6D5B9A5B-98CD-C896-60F4-7532C15E5C40}"/>
              </a:ext>
            </a:extLst>
          </p:cNvPr>
          <p:cNvGraphicFramePr/>
          <p:nvPr>
            <p:extLst>
              <p:ext uri="{D42A27DB-BD31-4B8C-83A1-F6EECF244321}">
                <p14:modId xmlns:p14="http://schemas.microsoft.com/office/powerpoint/2010/main" val="2179290249"/>
              </p:ext>
            </p:extLst>
          </p:nvPr>
        </p:nvGraphicFramePr>
        <p:xfrm>
          <a:off x="7175322" y="3581972"/>
          <a:ext cx="4275459" cy="2742629"/>
        </p:xfrm>
        <a:graphic>
          <a:graphicData uri="http://schemas.openxmlformats.org/drawingml/2006/chart">
            <c:chart xmlns:c="http://schemas.openxmlformats.org/drawingml/2006/chart" xmlns:r="http://schemas.openxmlformats.org/officeDocument/2006/relationships" r:id="rId12"/>
          </a:graphicData>
        </a:graphic>
      </p:graphicFrame>
      <p:sp>
        <p:nvSpPr>
          <p:cNvPr id="24" name="TextBox 23">
            <a:extLst>
              <a:ext uri="{FF2B5EF4-FFF2-40B4-BE49-F238E27FC236}">
                <a16:creationId xmlns:a16="http://schemas.microsoft.com/office/drawing/2014/main" id="{FFE758C0-F46D-B857-38ED-B8B7BC8E7075}"/>
              </a:ext>
            </a:extLst>
          </p:cNvPr>
          <p:cNvSpPr txBox="1"/>
          <p:nvPr/>
        </p:nvSpPr>
        <p:spPr>
          <a:xfrm>
            <a:off x="7075583" y="2140889"/>
            <a:ext cx="4833754"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Arial" panose="020B0604020202020204"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Providers want more advice on how to improve</a:t>
            </a:r>
            <a:r>
              <a:rPr lang="en-GB" sz="1400" dirty="0">
                <a:solidFill>
                  <a:prstClr val="black"/>
                </a:solidFill>
                <a:latin typeface="Tahoma" panose="020B0604030504040204" pitchFamily="34" charset="0"/>
                <a:ea typeface="Tahoma" panose="020B0604030504040204" pitchFamily="34" charset="0"/>
                <a:cs typeface="Tahoma" panose="020B0604030504040204" pitchFamily="34" charset="0"/>
              </a:rPr>
              <a:t> and</a:t>
            </a: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 </a:t>
            </a: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onsistency between inspec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black"/>
                </a:solidFill>
                <a:latin typeface="Tahoma" panose="020B0604030504040204" pitchFamily="34" charset="0"/>
                <a:ea typeface="Tahoma" panose="020B0604030504040204" pitchFamily="34" charset="0"/>
                <a:cs typeface="Tahoma" panose="020B0604030504040204" pitchFamily="34" charset="0"/>
              </a:rPr>
              <a:t>Their views on alternatives to the one-word judgements had significant overlap: </a:t>
            </a: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25669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43BC7F2-B02C-46B9-9EFE-801E2713D8D0}"/>
              </a:ext>
            </a:extLst>
          </p:cNvPr>
          <p:cNvSpPr>
            <a:spLocks noGrp="1"/>
          </p:cNvSpPr>
          <p:nvPr>
            <p:ph type="title"/>
          </p:nvPr>
        </p:nvSpPr>
        <p:spPr>
          <a:xfrm>
            <a:off x="460800" y="205200"/>
            <a:ext cx="11563095" cy="1325563"/>
          </a:xfrm>
        </p:spPr>
        <p:txBody>
          <a:bodyPr>
            <a:normAutofit/>
          </a:bodyPr>
          <a:lstStyle/>
          <a:p>
            <a:r>
              <a:rPr lang="en-GB" sz="2600" dirty="0">
                <a:solidFill>
                  <a:schemeClr val="accent5">
                    <a:lumMod val="60000"/>
                    <a:lumOff val="40000"/>
                  </a:schemeClr>
                </a:solidFill>
              </a:rPr>
              <a:t>Reform strategy part 2: </a:t>
            </a:r>
            <a:r>
              <a:rPr lang="en-GB" sz="2600" dirty="0">
                <a:solidFill>
                  <a:schemeClr val="tx2"/>
                </a:solidFill>
              </a:rPr>
              <a:t>Working for parents and professionals</a:t>
            </a:r>
          </a:p>
        </p:txBody>
      </p:sp>
      <p:pic>
        <p:nvPicPr>
          <p:cNvPr id="5" name="Picture 4" descr="A screen shot of a chart&#10;&#10;Description automatically generated">
            <a:extLst>
              <a:ext uri="{FF2B5EF4-FFF2-40B4-BE49-F238E27FC236}">
                <a16:creationId xmlns:a16="http://schemas.microsoft.com/office/drawing/2014/main" id="{EA74064B-A833-88E4-4282-6BABD1B432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3736" y="1267542"/>
            <a:ext cx="3613748" cy="5028592"/>
          </a:xfrm>
          <a:prstGeom prst="rect">
            <a:avLst/>
          </a:prstGeom>
        </p:spPr>
      </p:pic>
      <p:grpSp>
        <p:nvGrpSpPr>
          <p:cNvPr id="11" name="Group 10">
            <a:extLst>
              <a:ext uri="{FF2B5EF4-FFF2-40B4-BE49-F238E27FC236}">
                <a16:creationId xmlns:a16="http://schemas.microsoft.com/office/drawing/2014/main" id="{CBBAB3A9-02DA-BFE5-7510-BB02337E36E2}"/>
              </a:ext>
            </a:extLst>
          </p:cNvPr>
          <p:cNvGrpSpPr/>
          <p:nvPr/>
        </p:nvGrpSpPr>
        <p:grpSpPr>
          <a:xfrm>
            <a:off x="5942914" y="2162792"/>
            <a:ext cx="306171" cy="3856319"/>
            <a:chOff x="5281184" y="1331586"/>
            <a:chExt cx="306171" cy="3984858"/>
          </a:xfrm>
        </p:grpSpPr>
        <p:cxnSp>
          <p:nvCxnSpPr>
            <p:cNvPr id="14" name="Straight Connector 13">
              <a:extLst>
                <a:ext uri="{FF2B5EF4-FFF2-40B4-BE49-F238E27FC236}">
                  <a16:creationId xmlns:a16="http://schemas.microsoft.com/office/drawing/2014/main" id="{65034143-F7B8-91B2-F2BD-55471EF0B540}"/>
                </a:ext>
              </a:extLst>
            </p:cNvPr>
            <p:cNvCxnSpPr>
              <a:cxnSpLocks/>
            </p:cNvCxnSpPr>
            <p:nvPr/>
          </p:nvCxnSpPr>
          <p:spPr>
            <a:xfrm>
              <a:off x="5434269" y="1331586"/>
              <a:ext cx="0" cy="3984858"/>
            </a:xfrm>
            <a:prstGeom prst="line">
              <a:avLst/>
            </a:prstGeom>
            <a:ln w="9525" cap="rnd">
              <a:solidFill>
                <a:schemeClr val="tx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2B1083ED-C07C-CA6A-9989-014BD5F35A79}"/>
                </a:ext>
              </a:extLst>
            </p:cNvPr>
            <p:cNvGrpSpPr/>
            <p:nvPr/>
          </p:nvGrpSpPr>
          <p:grpSpPr>
            <a:xfrm>
              <a:off x="5281184" y="3197369"/>
              <a:ext cx="306171" cy="306910"/>
              <a:chOff x="5945915" y="3218680"/>
              <a:chExt cx="306171" cy="306910"/>
            </a:xfrm>
          </p:grpSpPr>
          <p:sp>
            <p:nvSpPr>
              <p:cNvPr id="20" name="Freeform 94">
                <a:extLst>
                  <a:ext uri="{FF2B5EF4-FFF2-40B4-BE49-F238E27FC236}">
                    <a16:creationId xmlns:a16="http://schemas.microsoft.com/office/drawing/2014/main" id="{6A73C589-A132-FF7F-C3F6-FA5C648C5EDA}"/>
                  </a:ext>
                </a:extLst>
              </p:cNvPr>
              <p:cNvSpPr>
                <a:spLocks/>
              </p:cNvSpPr>
              <p:nvPr/>
            </p:nvSpPr>
            <p:spPr bwMode="gray">
              <a:xfrm>
                <a:off x="5945915" y="3218680"/>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5">
                <a:extLst>
                  <a:ext uri="{FF2B5EF4-FFF2-40B4-BE49-F238E27FC236}">
                    <a16:creationId xmlns:a16="http://schemas.microsoft.com/office/drawing/2014/main" id="{CC7A049A-A09E-A023-D01D-94D84C02B5BE}"/>
                  </a:ext>
                </a:extLst>
              </p:cNvPr>
              <p:cNvSpPr>
                <a:spLocks/>
              </p:cNvSpPr>
              <p:nvPr/>
            </p:nvSpPr>
            <p:spPr bwMode="gray">
              <a:xfrm>
                <a:off x="6062346" y="326093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3" name="Picture 2">
            <a:extLst>
              <a:ext uri="{FF2B5EF4-FFF2-40B4-BE49-F238E27FC236}">
                <a16:creationId xmlns:a16="http://schemas.microsoft.com/office/drawing/2014/main" id="{FAF1F4AD-F272-F1ED-E405-66BAA2D52E38}"/>
              </a:ext>
            </a:extLst>
          </p:cNvPr>
          <p:cNvPicPr>
            <a:picLocks noChangeAspect="1"/>
          </p:cNvPicPr>
          <p:nvPr/>
        </p:nvPicPr>
        <p:blipFill>
          <a:blip r:embed="rId4"/>
          <a:stretch>
            <a:fillRect/>
          </a:stretch>
        </p:blipFill>
        <p:spPr>
          <a:xfrm>
            <a:off x="769113" y="2986540"/>
            <a:ext cx="4605499" cy="2045494"/>
          </a:xfrm>
          <a:prstGeom prst="rect">
            <a:avLst/>
          </a:prstGeom>
        </p:spPr>
      </p:pic>
    </p:spTree>
    <p:extLst>
      <p:ext uri="{BB962C8B-B14F-4D97-AF65-F5344CB8AC3E}">
        <p14:creationId xmlns:p14="http://schemas.microsoft.com/office/powerpoint/2010/main" val="14420076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3B96C-B6D9-69D0-FE08-EA746B468D71}"/>
            </a:ext>
          </a:extLst>
        </p:cNvPr>
        <p:cNvGrpSpPr/>
        <p:nvPr/>
      </p:nvGrpSpPr>
      <p:grpSpPr>
        <a:xfrm>
          <a:off x="0" y="0"/>
          <a:ext cx="0" cy="0"/>
          <a:chOff x="0" y="0"/>
          <a:chExt cx="0" cy="0"/>
        </a:xfrm>
      </p:grpSpPr>
      <p:grpSp>
        <p:nvGrpSpPr>
          <p:cNvPr id="5" name="btfpColumnHeaderBox838172">
            <a:extLst>
              <a:ext uri="{FF2B5EF4-FFF2-40B4-BE49-F238E27FC236}">
                <a16:creationId xmlns:a16="http://schemas.microsoft.com/office/drawing/2014/main" id="{367ACB58-D6AE-CC48-0E1A-76FB1D9A7622}"/>
              </a:ext>
            </a:extLst>
          </p:cNvPr>
          <p:cNvGrpSpPr/>
          <p:nvPr>
            <p:custDataLst>
              <p:tags r:id="rId1"/>
            </p:custDataLst>
          </p:nvPr>
        </p:nvGrpSpPr>
        <p:grpSpPr>
          <a:xfrm>
            <a:off x="521335" y="1693809"/>
            <a:ext cx="4954422" cy="318997"/>
            <a:chOff x="-15939" y="-920089"/>
            <a:chExt cx="5495529" cy="364582"/>
          </a:xfrm>
        </p:grpSpPr>
        <p:sp>
          <p:nvSpPr>
            <p:cNvPr id="6" name="btfpColumnHeaderBoxText838172">
              <a:extLst>
                <a:ext uri="{FF2B5EF4-FFF2-40B4-BE49-F238E27FC236}">
                  <a16:creationId xmlns:a16="http://schemas.microsoft.com/office/drawing/2014/main" id="{B8839917-C699-E08B-A36B-F84C4C31D773}"/>
                </a:ext>
              </a:extLst>
            </p:cNvPr>
            <p:cNvSpPr txBox="1"/>
            <p:nvPr>
              <p:custDataLst>
                <p:tags r:id="rId2"/>
              </p:custDataLst>
            </p:nvPr>
          </p:nvSpPr>
          <p:spPr bwMode="gray">
            <a:xfrm>
              <a:off x="-15939" y="-920089"/>
              <a:ext cx="5495529" cy="364582"/>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Tahoma" panose="020B0604030504040204" pitchFamily="34" charset="0"/>
                  <a:ea typeface="Tahoma" panose="020B0604030504040204" pitchFamily="34" charset="0"/>
                  <a:cs typeface="Tahoma" panose="020B0604030504040204" pitchFamily="34" charset="0"/>
                </a:rPr>
                <a:t>Balancing sector and parents</a:t>
              </a:r>
            </a:p>
          </p:txBody>
        </p:sp>
        <p:cxnSp>
          <p:nvCxnSpPr>
            <p:cNvPr id="7" name="btfpColumnHeaderBoxLine838172">
              <a:extLst>
                <a:ext uri="{FF2B5EF4-FFF2-40B4-BE49-F238E27FC236}">
                  <a16:creationId xmlns:a16="http://schemas.microsoft.com/office/drawing/2014/main" id="{11C46559-EBD1-1C59-0BB3-24AFF036E86C}"/>
                </a:ext>
              </a:extLst>
            </p:cNvPr>
            <p:cNvCxnSpPr/>
            <p:nvPr>
              <p:custDataLst>
                <p:tags r:id="rId3"/>
              </p:custDataLst>
            </p:nvPr>
          </p:nvCxnSpPr>
          <p:spPr bwMode="gray">
            <a:xfrm>
              <a:off x="-15939" y="-555507"/>
              <a:ext cx="5495529" cy="0"/>
            </a:xfrm>
            <a:prstGeom prst="line">
              <a:avLst/>
            </a:prstGeom>
            <a:ln w="9525" cap="flat">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2" name="Title 11">
            <a:extLst>
              <a:ext uri="{FF2B5EF4-FFF2-40B4-BE49-F238E27FC236}">
                <a16:creationId xmlns:a16="http://schemas.microsoft.com/office/drawing/2014/main" id="{92DC39AC-27F5-6A80-8619-9B4864ABE889}"/>
              </a:ext>
            </a:extLst>
          </p:cNvPr>
          <p:cNvSpPr>
            <a:spLocks noGrp="1"/>
          </p:cNvSpPr>
          <p:nvPr>
            <p:ph type="title"/>
          </p:nvPr>
        </p:nvSpPr>
        <p:spPr>
          <a:xfrm>
            <a:off x="460800" y="205200"/>
            <a:ext cx="9299869" cy="1325563"/>
          </a:xfrm>
        </p:spPr>
        <p:txBody>
          <a:bodyPr>
            <a:normAutofit/>
          </a:bodyPr>
          <a:lstStyle/>
          <a:p>
            <a:r>
              <a:rPr lang="en-GB" sz="2600" dirty="0">
                <a:solidFill>
                  <a:srgbClr val="8FAADC"/>
                </a:solidFill>
              </a:rPr>
              <a:t>Reform strategy part 2</a:t>
            </a:r>
            <a:r>
              <a:rPr lang="en-GB" sz="2600" dirty="0">
                <a:solidFill>
                  <a:schemeClr val="accent5">
                    <a:lumMod val="60000"/>
                    <a:lumOff val="40000"/>
                  </a:schemeClr>
                </a:solidFill>
              </a:rPr>
              <a:t>: </a:t>
            </a:r>
            <a:r>
              <a:rPr lang="en-GB" sz="2600" dirty="0">
                <a:solidFill>
                  <a:schemeClr val="tx2"/>
                </a:solidFill>
              </a:rPr>
              <a:t>Maintain public/parental confidence</a:t>
            </a:r>
          </a:p>
        </p:txBody>
      </p:sp>
      <p:sp>
        <p:nvSpPr>
          <p:cNvPr id="32" name="TextBox 31">
            <a:extLst>
              <a:ext uri="{FF2B5EF4-FFF2-40B4-BE49-F238E27FC236}">
                <a16:creationId xmlns:a16="http://schemas.microsoft.com/office/drawing/2014/main" id="{99BCF6EE-A509-CC8A-A87B-6556F3EB4F7E}"/>
              </a:ext>
            </a:extLst>
          </p:cNvPr>
          <p:cNvSpPr txBox="1"/>
          <p:nvPr/>
        </p:nvSpPr>
        <p:spPr>
          <a:xfrm>
            <a:off x="92149" y="2198015"/>
            <a:ext cx="5395380" cy="2792624"/>
          </a:xfrm>
          <a:prstGeom prst="rect">
            <a:avLst/>
          </a:prstGeom>
          <a:noFill/>
        </p:spPr>
        <p:txBody>
          <a:bodyPr wrap="square" lIns="91440" tIns="45720" rIns="91440" bIns="45720" anchor="t">
            <a:spAutoFit/>
          </a:bodyPr>
          <a:lstStyle/>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lang="en-GB" sz="1400" dirty="0">
                <a:solidFill>
                  <a:prstClr val="black"/>
                </a:solidFill>
                <a:latin typeface="Tahoma"/>
                <a:ea typeface="Calibri"/>
                <a:cs typeface="Tahoma"/>
              </a:rPr>
              <a:t>Ofsted’s strategic strength stems almost entirely from the faith parents put in us to hold providers to account for standards and safety. </a:t>
            </a:r>
          </a:p>
          <a:p>
            <a:pPr marR="0" lvl="1" algn="l" defTabSz="914400" rtl="0" eaLnBrk="1" fontAlgn="auto" latinLnBrk="0" hangingPunct="1">
              <a:lnSpc>
                <a:spcPct val="115000"/>
              </a:lnSpc>
              <a:spcBef>
                <a:spcPts val="0"/>
              </a:spcBef>
              <a:spcAft>
                <a:spcPts val="0"/>
              </a:spcAft>
              <a:buClrTx/>
              <a:buSzTx/>
              <a:tabLst/>
              <a:defRPr/>
            </a:pP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lang="en-GB" sz="1400" dirty="0">
                <a:solidFill>
                  <a:prstClr val="black"/>
                </a:solidFill>
                <a:latin typeface="Tahoma"/>
                <a:ea typeface="Calibri"/>
                <a:cs typeface="Tahoma"/>
              </a:rPr>
              <a:t>The 2023 crisis of confidence needed arresting, but it was essential not to lose sight of why we exist. </a:t>
            </a: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endParaRPr lang="en-GB" sz="1400" dirty="0">
              <a:solidFill>
                <a:prstClr val="black"/>
              </a:solidFill>
              <a:latin typeface="Tahoma"/>
              <a:ea typeface="Calibri"/>
              <a:cs typeface="Tahoma"/>
            </a:endParaRPr>
          </a:p>
          <a:p>
            <a:pPr marL="742950" marR="0" lvl="1" indent="-28575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lang="en-GB" sz="1400" dirty="0">
                <a:solidFill>
                  <a:prstClr val="black"/>
                </a:solidFill>
                <a:latin typeface="Tahoma"/>
                <a:ea typeface="Calibri"/>
                <a:cs typeface="Tahoma"/>
              </a:rPr>
              <a:t>Understanding our strategic strengths allowed for much needed changes, as well as a narrative pivot to focus on children once again.  </a:t>
            </a:r>
            <a:br>
              <a:rPr kumimoji="0" lang="en-GB" sz="1400" b="0" i="0" u="none" strike="noStrike" kern="1200" cap="none" spc="0" normalizeH="0" baseline="0" noProof="0" dirty="0">
                <a:ln>
                  <a:noFill/>
                </a:ln>
                <a:solidFill>
                  <a:prstClr val="black"/>
                </a:solidFill>
                <a:effectLst/>
                <a:uLnTx/>
                <a:uFillTx/>
                <a:latin typeface="Tahoma"/>
                <a:ea typeface="Calibri"/>
                <a:cs typeface="Tahoma"/>
              </a:rPr>
            </a:br>
            <a:endParaRPr kumimoji="0" lang="en-GB" sz="1400" b="0" i="0" u="none" strike="noStrike" kern="1200" cap="none" spc="0" normalizeH="0" baseline="0" noProof="0" dirty="0">
              <a:ln>
                <a:noFill/>
              </a:ln>
              <a:solidFill>
                <a:prstClr val="black"/>
              </a:solidFill>
              <a:effectLst/>
              <a:uLnTx/>
              <a:uFillTx/>
              <a:latin typeface="Tahoma"/>
              <a:ea typeface="Calibri"/>
              <a:cs typeface="Tahoma"/>
            </a:endParaRPr>
          </a:p>
        </p:txBody>
      </p:sp>
      <p:sp>
        <p:nvSpPr>
          <p:cNvPr id="8" name="Slide Number Placeholder 3">
            <a:extLst>
              <a:ext uri="{FF2B5EF4-FFF2-40B4-BE49-F238E27FC236}">
                <a16:creationId xmlns:a16="http://schemas.microsoft.com/office/drawing/2014/main" id="{250E7967-945B-ED1A-E1F9-1FEB3737BCED}"/>
              </a:ext>
            </a:extLst>
          </p:cNvPr>
          <p:cNvSpPr txBox="1">
            <a:spLocks/>
          </p:cNvSpPr>
          <p:nvPr/>
        </p:nvSpPr>
        <p:spPr>
          <a:xfrm>
            <a:off x="10937802" y="6370793"/>
            <a:ext cx="1068387"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21E5B"/>
                </a:solidFill>
                <a:latin typeface="Tahoma" panose="020B0604030504040204" pitchFamily="34" charset="0"/>
                <a:ea typeface="Tahoma" panose="020B0604030504040204" pitchFamily="34" charset="0"/>
                <a:cs typeface="Tahom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F4C8201-D8A8-417D-8A18-42E93E6C5D44}" type="slidenum">
              <a:rPr lang="en-GB" smtClean="0"/>
              <a:pPr>
                <a:defRPr/>
              </a:pPr>
              <a:t>9</a:t>
            </a:fld>
            <a:endParaRPr lang="en-GB" dirty="0"/>
          </a:p>
        </p:txBody>
      </p:sp>
      <p:pic>
        <p:nvPicPr>
          <p:cNvPr id="4" name="Picture 3">
            <a:extLst>
              <a:ext uri="{FF2B5EF4-FFF2-40B4-BE49-F238E27FC236}">
                <a16:creationId xmlns:a16="http://schemas.microsoft.com/office/drawing/2014/main" id="{6D503FB6-D645-9E1A-A7FB-3B9D64DEA556}"/>
              </a:ext>
            </a:extLst>
          </p:cNvPr>
          <p:cNvPicPr>
            <a:picLocks noChangeAspect="1"/>
          </p:cNvPicPr>
          <p:nvPr/>
        </p:nvPicPr>
        <p:blipFill>
          <a:blip r:embed="rId6"/>
          <a:stretch>
            <a:fillRect/>
          </a:stretch>
        </p:blipFill>
        <p:spPr>
          <a:xfrm>
            <a:off x="2873222" y="4990639"/>
            <a:ext cx="6445556" cy="1256237"/>
          </a:xfrm>
          <a:prstGeom prst="rect">
            <a:avLst/>
          </a:prstGeom>
        </p:spPr>
      </p:pic>
      <p:pic>
        <p:nvPicPr>
          <p:cNvPr id="11" name="Picture 10">
            <a:extLst>
              <a:ext uri="{FF2B5EF4-FFF2-40B4-BE49-F238E27FC236}">
                <a16:creationId xmlns:a16="http://schemas.microsoft.com/office/drawing/2014/main" id="{D879C78E-3151-D57E-5D2E-8774E6B0156A}"/>
              </a:ext>
            </a:extLst>
          </p:cNvPr>
          <p:cNvPicPr>
            <a:picLocks noChangeAspect="1"/>
          </p:cNvPicPr>
          <p:nvPr/>
        </p:nvPicPr>
        <p:blipFill>
          <a:blip r:embed="rId7"/>
          <a:stretch>
            <a:fillRect/>
          </a:stretch>
        </p:blipFill>
        <p:spPr>
          <a:xfrm>
            <a:off x="6096000" y="1853307"/>
            <a:ext cx="5275742" cy="2847851"/>
          </a:xfrm>
          <a:prstGeom prst="rect">
            <a:avLst/>
          </a:prstGeom>
        </p:spPr>
      </p:pic>
    </p:spTree>
    <p:extLst>
      <p:ext uri="{BB962C8B-B14F-4D97-AF65-F5344CB8AC3E}">
        <p14:creationId xmlns:p14="http://schemas.microsoft.com/office/powerpoint/2010/main" val="35146457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AS_UNIQUEID" val="20999"/>
</p:tagLst>
</file>

<file path=ppt/tags/tag12.xml><?xml version="1.0" encoding="utf-8"?>
<p:tagLst xmlns:a="http://schemas.openxmlformats.org/drawingml/2006/main" xmlns:r="http://schemas.openxmlformats.org/officeDocument/2006/relationships" xmlns:p="http://schemas.openxmlformats.org/presentationml/2006/main">
  <p:tag name="AS_UNIQUEID" val="21000"/>
</p:tagLst>
</file>

<file path=ppt/tags/tag13.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AS_UNIQUEID" val="20999"/>
</p:tagLst>
</file>

<file path=ppt/tags/tag15.xml><?xml version="1.0" encoding="utf-8"?>
<p:tagLst xmlns:a="http://schemas.openxmlformats.org/drawingml/2006/main" xmlns:r="http://schemas.openxmlformats.org/officeDocument/2006/relationships" xmlns:p="http://schemas.openxmlformats.org/presentationml/2006/main">
  <p:tag name="AS_UNIQUEID" val="21000"/>
</p:tagLst>
</file>

<file path=ppt/tags/tag16.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AS_UNIQUEID" val="20999"/>
</p:tagLst>
</file>

<file path=ppt/tags/tag18.xml><?xml version="1.0" encoding="utf-8"?>
<p:tagLst xmlns:a="http://schemas.openxmlformats.org/drawingml/2006/main" xmlns:r="http://schemas.openxmlformats.org/officeDocument/2006/relationships" xmlns:p="http://schemas.openxmlformats.org/presentationml/2006/main">
  <p:tag name="AS_UNIQUEID" val="21000"/>
</p:tagLst>
</file>

<file path=ppt/tags/tag19.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5FK31KZRewCcGRq0m9CSQ"/>
</p:tagLst>
</file>

<file path=ppt/tags/tag20.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AS_UNIQUEID" val="20999"/>
</p:tagLst>
</file>

<file path=ppt/tags/tag22.xml><?xml version="1.0" encoding="utf-8"?>
<p:tagLst xmlns:a="http://schemas.openxmlformats.org/drawingml/2006/main" xmlns:r="http://schemas.openxmlformats.org/officeDocument/2006/relationships" xmlns:p="http://schemas.openxmlformats.org/presentationml/2006/main">
  <p:tag name="AS_UNIQUEID" val="21000"/>
</p:tagLst>
</file>

<file path=ppt/tags/tag23.xml><?xml version="1.0" encoding="utf-8"?>
<p:tagLst xmlns:a="http://schemas.openxmlformats.org/drawingml/2006/main" xmlns:r="http://schemas.openxmlformats.org/officeDocument/2006/relationships" xmlns:p="http://schemas.openxmlformats.org/presentationml/2006/main">
  <p:tag name="AS_UNIQUEID" val="20999"/>
</p:tagLst>
</file>

<file path=ppt/tags/tag24.xml><?xml version="1.0" encoding="utf-8"?>
<p:tagLst xmlns:a="http://schemas.openxmlformats.org/drawingml/2006/main" xmlns:r="http://schemas.openxmlformats.org/officeDocument/2006/relationships" xmlns:p="http://schemas.openxmlformats.org/presentationml/2006/main">
  <p:tag name="AS_UNIQUEID" val="21000"/>
</p:tagLst>
</file>

<file path=ppt/tags/tag25.xml><?xml version="1.0" encoding="utf-8"?>
<p:tagLst xmlns:a="http://schemas.openxmlformats.org/drawingml/2006/main" xmlns:r="http://schemas.openxmlformats.org/officeDocument/2006/relationships" xmlns:p="http://schemas.openxmlformats.org/presentationml/2006/main">
  <p:tag name="AS_UNIQUEID" val="20998"/>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AS_UNIQUEID" val="20999"/>
</p:tagLst>
</file>

<file path=ppt/tags/tag27.xml><?xml version="1.0" encoding="utf-8"?>
<p:tagLst xmlns:a="http://schemas.openxmlformats.org/drawingml/2006/main" xmlns:r="http://schemas.openxmlformats.org/officeDocument/2006/relationships" xmlns:p="http://schemas.openxmlformats.org/presentationml/2006/main">
  <p:tag name="AS_UNIQUEID" val="21000"/>
</p:tagLst>
</file>

<file path=ppt/tags/tag3.xml><?xml version="1.0" encoding="utf-8"?>
<p:tagLst xmlns:a="http://schemas.openxmlformats.org/drawingml/2006/main" xmlns:r="http://schemas.openxmlformats.org/officeDocument/2006/relationships" xmlns:p="http://schemas.openxmlformats.org/presentationml/2006/main">
  <p:tag name="AS_UNIQUEID" val="20999"/>
</p:tagLst>
</file>

<file path=ppt/tags/tag4.xml><?xml version="1.0" encoding="utf-8"?>
<p:tagLst xmlns:a="http://schemas.openxmlformats.org/drawingml/2006/main" xmlns:r="http://schemas.openxmlformats.org/officeDocument/2006/relationships" xmlns:p="http://schemas.openxmlformats.org/presentationml/2006/main">
  <p:tag name="AS_UNIQUEID" val="20999"/>
</p:tagLst>
</file>

<file path=ppt/tags/tag5.xml><?xml version="1.0" encoding="utf-8"?>
<p:tagLst xmlns:a="http://schemas.openxmlformats.org/drawingml/2006/main" xmlns:r="http://schemas.openxmlformats.org/officeDocument/2006/relationships" xmlns:p="http://schemas.openxmlformats.org/presentationml/2006/main">
  <p:tag name="AS_UNIQUEID" val="20999"/>
</p:tagLst>
</file>

<file path=ppt/tags/tag6.xml><?xml version="1.0" encoding="utf-8"?>
<p:tagLst xmlns:a="http://schemas.openxmlformats.org/drawingml/2006/main" xmlns:r="http://schemas.openxmlformats.org/officeDocument/2006/relationships" xmlns:p="http://schemas.openxmlformats.org/presentationml/2006/main">
  <p:tag name="AS_UNIQUEID" val="20999"/>
</p:tagLst>
</file>

<file path=ppt/tags/tag7.xml><?xml version="1.0" encoding="utf-8"?>
<p:tagLst xmlns:a="http://schemas.openxmlformats.org/drawingml/2006/main" xmlns:r="http://schemas.openxmlformats.org/officeDocument/2006/relationships" xmlns:p="http://schemas.openxmlformats.org/presentationml/2006/main">
  <p:tag name="AS_UNIQUEID" val="20999"/>
</p:tagLst>
</file>

<file path=ppt/tags/tag8.xml><?xml version="1.0" encoding="utf-8"?>
<p:tagLst xmlns:a="http://schemas.openxmlformats.org/drawingml/2006/main" xmlns:r="http://schemas.openxmlformats.org/officeDocument/2006/relationships" xmlns:p="http://schemas.openxmlformats.org/presentationml/2006/main">
  <p:tag name="AS_UNIQUEID" val="20999"/>
</p:tagLst>
</file>

<file path=ppt/tags/tag9.xml><?xml version="1.0" encoding="utf-8"?>
<p:tagLst xmlns:a="http://schemas.openxmlformats.org/drawingml/2006/main" xmlns:r="http://schemas.openxmlformats.org/officeDocument/2006/relationships" xmlns:p="http://schemas.openxmlformats.org/presentationml/2006/main">
  <p:tag name="AS_UNIQUEID" val="20999"/>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ED7D3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 id="{B706EACD-EA6B-4E7B-95B6-07E411A3DD26}" vid="{96BCBDBA-7755-4F72-92EE-F736C6CD048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rgbClr val="FFFFFF"/>
    </a:lt1>
    <a:dk2>
      <a:srgbClr val="000000"/>
    </a:dk2>
    <a:lt2>
      <a:srgbClr val="E7E6E6"/>
    </a:lt2>
    <a:accent1>
      <a:srgbClr val="005547"/>
    </a:accent1>
    <a:accent2>
      <a:srgbClr val="2CE3A0"/>
    </a:accent2>
    <a:accent3>
      <a:srgbClr val="B70050"/>
    </a:accent3>
    <a:accent4>
      <a:srgbClr val="FFD457"/>
    </a:accent4>
    <a:accent5>
      <a:srgbClr val="ED7D31"/>
    </a:accent5>
    <a:accent6>
      <a:srgbClr val="3392BD"/>
    </a:accent6>
    <a:hlink>
      <a:srgbClr val="005547"/>
    </a:hlink>
    <a:folHlink>
      <a:srgbClr val="B7005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452</TotalTime>
  <Words>1060</Words>
  <Application>Microsoft Office PowerPoint</Application>
  <PresentationFormat>Widescreen</PresentationFormat>
  <Paragraphs>139</Paragraphs>
  <Slides>10</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Segoe UI</vt:lpstr>
      <vt:lpstr>Tahoma</vt:lpstr>
      <vt:lpstr>Trebuchet MS</vt:lpstr>
      <vt:lpstr>Wingdings</vt:lpstr>
      <vt:lpstr>Office Theme</vt:lpstr>
      <vt:lpstr>think-cell Slide</vt:lpstr>
      <vt:lpstr>Responding to Regulatory Challenges</vt:lpstr>
      <vt:lpstr>Agenda: Dealing with a crisis of legitimacy</vt:lpstr>
      <vt:lpstr>Introduction: Ofsted works across education and care</vt:lpstr>
      <vt:lpstr>Crisis of confidence: Tragic death of Ruth Perry in 2023</vt:lpstr>
      <vt:lpstr>Reform strategy part 1: Control through pace</vt:lpstr>
      <vt:lpstr>The Big Listen: Listening following calls for change</vt:lpstr>
      <vt:lpstr>The Big Listen: What did we hear? </vt:lpstr>
      <vt:lpstr>Reform strategy part 2: Working for parents and professionals</vt:lpstr>
      <vt:lpstr>Reform strategy part 2: Maintain public/parental confidence</vt:lpstr>
      <vt:lpstr>PowerPoint Presentation</vt:lpstr>
    </vt:vector>
  </TitlesOfParts>
  <Company>Ofs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ory Gribbell</dc:creator>
  <cp:lastModifiedBy>Rory Gribbell</cp:lastModifiedBy>
  <cp:revision>1</cp:revision>
  <dcterms:created xsi:type="dcterms:W3CDTF">2025-05-08T10:04:46Z</dcterms:created>
  <dcterms:modified xsi:type="dcterms:W3CDTF">2025-06-05T10:47:06Z</dcterms:modified>
</cp:coreProperties>
</file>